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ink/ink1.xml" ContentType="application/inkml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1"/>
  </p:sldMasterIdLst>
  <p:sldIdLst>
    <p:sldId id="256" r:id="rId2"/>
    <p:sldId id="272" r:id="rId3"/>
    <p:sldId id="257" r:id="rId4"/>
    <p:sldId id="259" r:id="rId5"/>
    <p:sldId id="260" r:id="rId6"/>
    <p:sldId id="261" r:id="rId7"/>
    <p:sldId id="262" r:id="rId8"/>
    <p:sldId id="263" r:id="rId9"/>
    <p:sldId id="266" r:id="rId10"/>
    <p:sldId id="264" r:id="rId11"/>
    <p:sldId id="265" r:id="rId12"/>
    <p:sldId id="267" r:id="rId13"/>
    <p:sldId id="271" r:id="rId14"/>
    <p:sldId id="270" r:id="rId15"/>
  </p:sldIdLst>
  <p:sldSz cx="12192000" cy="6858000"/>
  <p:notesSz cx="6858000" cy="9144000"/>
  <p:custDataLst>
    <p:tags r:id="rId1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A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0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55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SIRENA LOPEZ, GADDIEL" userId="caad862e-f721-4900-a4d5-f02e4db01c68" providerId="ADAL" clId="{37331009-F8BB-40C3-954F-5803F256E73D}"/>
    <pc:docChg chg="modSld">
      <pc:chgData name="DESIRENA LOPEZ, GADDIEL" userId="caad862e-f721-4900-a4d5-f02e4db01c68" providerId="ADAL" clId="{37331009-F8BB-40C3-954F-5803F256E73D}" dt="2023-05-05T19:13:29.451" v="50" actId="20577"/>
      <pc:docMkLst>
        <pc:docMk/>
      </pc:docMkLst>
      <pc:sldChg chg="modSp">
        <pc:chgData name="DESIRENA LOPEZ, GADDIEL" userId="caad862e-f721-4900-a4d5-f02e4db01c68" providerId="ADAL" clId="{37331009-F8BB-40C3-954F-5803F256E73D}" dt="2023-05-05T18:59:31.242" v="12" actId="20577"/>
        <pc:sldMkLst>
          <pc:docMk/>
          <pc:sldMk cId="2458575791" sldId="264"/>
        </pc:sldMkLst>
      </pc:sldChg>
      <pc:sldChg chg="modSp mod">
        <pc:chgData name="DESIRENA LOPEZ, GADDIEL" userId="caad862e-f721-4900-a4d5-f02e4db01c68" providerId="ADAL" clId="{37331009-F8BB-40C3-954F-5803F256E73D}" dt="2023-05-05T19:12:57.389" v="26" actId="20577"/>
        <pc:sldMkLst>
          <pc:docMk/>
          <pc:sldMk cId="849874637" sldId="265"/>
        </pc:sldMkLst>
      </pc:sldChg>
      <pc:sldChg chg="modSp">
        <pc:chgData name="DESIRENA LOPEZ, GADDIEL" userId="caad862e-f721-4900-a4d5-f02e4db01c68" providerId="ADAL" clId="{37331009-F8BB-40C3-954F-5803F256E73D}" dt="2023-05-05T19:13:29.451" v="50" actId="20577"/>
        <pc:sldMkLst>
          <pc:docMk/>
          <pc:sldMk cId="4042247959" sldId="267"/>
        </pc:sldMkLst>
      </pc:sldChg>
    </pc:docChg>
  </pc:docChgLst>
  <pc:docChgLst>
    <pc:chgData name="DESIRENA LOPEZ, GADDIEL" userId="caad862e-f721-4900-a4d5-f02e4db01c68" providerId="ADAL" clId="{1503B7A3-9C7D-40BE-B1FA-0EBAB63AFC89}"/>
    <pc:docChg chg="custSel replTag delTag">
      <pc:chgData name="DESIRENA LOPEZ, GADDIEL" userId="caad862e-f721-4900-a4d5-f02e4db01c68" providerId="ADAL" clId="{1503B7A3-9C7D-40BE-B1FA-0EBAB63AFC89}" dt="2023-04-05T04:05:58.936" v="11"/>
      <pc:docMkLst>
        <pc:docMk/>
      </pc:docMkLst>
    </pc:docChg>
  </pc:docChgLst>
  <pc:docChgLst>
    <pc:chgData name="DESIRENA LOPEZ, GADDIEL" userId="S::gdesirena@iteso.mx::caad862e-f721-4900-a4d5-f02e4db01c68" providerId="AD" clId="Web-{E26D273D-7D4B-1851-B3A3-6FED119C1D33}"/>
    <pc:docChg chg="modSld">
      <pc:chgData name="DESIRENA LOPEZ, GADDIEL" userId="S::gdesirena@iteso.mx::caad862e-f721-4900-a4d5-f02e4db01c68" providerId="AD" clId="Web-{E26D273D-7D4B-1851-B3A3-6FED119C1D33}" dt="2020-11-14T01:14:16.598" v="262" actId="20577"/>
      <pc:docMkLst>
        <pc:docMk/>
      </pc:docMkLst>
      <pc:sldChg chg="modSp">
        <pc:chgData name="DESIRENA LOPEZ, GADDIEL" userId="S::gdesirena@iteso.mx::caad862e-f721-4900-a4d5-f02e4db01c68" providerId="AD" clId="Web-{E26D273D-7D4B-1851-B3A3-6FED119C1D33}" dt="2020-11-13T22:12:58.377" v="77" actId="20577"/>
        <pc:sldMkLst>
          <pc:docMk/>
          <pc:sldMk cId="4203772449" sldId="257"/>
        </pc:sldMkLst>
      </pc:sldChg>
      <pc:sldChg chg="modSp">
        <pc:chgData name="DESIRENA LOPEZ, GADDIEL" userId="S::gdesirena@iteso.mx::caad862e-f721-4900-a4d5-f02e4db01c68" providerId="AD" clId="Web-{E26D273D-7D4B-1851-B3A3-6FED119C1D33}" dt="2020-11-14T01:13:10.645" v="227" actId="20577"/>
        <pc:sldMkLst>
          <pc:docMk/>
          <pc:sldMk cId="2458575791" sldId="264"/>
        </pc:sldMkLst>
      </pc:sldChg>
      <pc:sldChg chg="modSp">
        <pc:chgData name="DESIRENA LOPEZ, GADDIEL" userId="S::gdesirena@iteso.mx::caad862e-f721-4900-a4d5-f02e4db01c68" providerId="AD" clId="Web-{E26D273D-7D4B-1851-B3A3-6FED119C1D33}" dt="2020-11-14T01:13:31.036" v="246"/>
        <pc:sldMkLst>
          <pc:docMk/>
          <pc:sldMk cId="849874637" sldId="265"/>
        </pc:sldMkLst>
      </pc:sldChg>
      <pc:sldChg chg="modSp">
        <pc:chgData name="DESIRENA LOPEZ, GADDIEL" userId="S::gdesirena@iteso.mx::caad862e-f721-4900-a4d5-f02e4db01c68" providerId="AD" clId="Web-{E26D273D-7D4B-1851-B3A3-6FED119C1D33}" dt="2020-11-14T01:13:53.364" v="257" actId="20577"/>
        <pc:sldMkLst>
          <pc:docMk/>
          <pc:sldMk cId="4042247959" sldId="267"/>
        </pc:sldMkLst>
      </pc:sldChg>
      <pc:sldChg chg="modSp">
        <pc:chgData name="DESIRENA LOPEZ, GADDIEL" userId="S::gdesirena@iteso.mx::caad862e-f721-4900-a4d5-f02e4db01c68" providerId="AD" clId="Web-{E26D273D-7D4B-1851-B3A3-6FED119C1D33}" dt="2020-11-14T01:14:16.598" v="262" actId="20577"/>
        <pc:sldMkLst>
          <pc:docMk/>
          <pc:sldMk cId="2566044211" sldId="271"/>
        </pc:sldMkLst>
      </pc:sldChg>
      <pc:sldChg chg="modSp">
        <pc:chgData name="DESIRENA LOPEZ, GADDIEL" userId="S::gdesirena@iteso.mx::caad862e-f721-4900-a4d5-f02e4db01c68" providerId="AD" clId="Web-{E26D273D-7D4B-1851-B3A3-6FED119C1D33}" dt="2020-11-13T22:12:08.940" v="68" actId="1076"/>
        <pc:sldMkLst>
          <pc:docMk/>
          <pc:sldMk cId="3409918560" sldId="272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1E1413-E8C3-4209-BA37-81027F070208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2B9B9581-E58B-4532-9E01-D49BE023A8A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s-MX" b="1" dirty="0">
              <a:solidFill>
                <a:schemeClr val="accent2">
                  <a:lumMod val="60000"/>
                  <a:lumOff val="40000"/>
                </a:schemeClr>
              </a:solidFill>
              <a:latin typeface="Avenir Next LT Pro"/>
            </a:rPr>
            <a:t>1.- </a:t>
          </a:r>
          <a:r>
            <a:rPr lang="es-MX" b="0" dirty="0">
              <a:solidFill>
                <a:schemeClr val="accent2">
                  <a:lumMod val="60000"/>
                  <a:lumOff val="40000"/>
                </a:schemeClr>
              </a:solidFill>
              <a:latin typeface="Avenir Next LT Pro"/>
            </a:rPr>
            <a:t>Introduccion al Aprendizaje Automático</a:t>
          </a:r>
          <a:endParaRPr lang="en-US" dirty="0">
            <a:solidFill>
              <a:schemeClr val="accent2">
                <a:lumMod val="60000"/>
                <a:lumOff val="40000"/>
              </a:schemeClr>
            </a:solidFill>
          </a:endParaRPr>
        </a:p>
      </dgm:t>
    </dgm:pt>
    <dgm:pt modelId="{2B7AC10F-5B88-456C-9D19-981A39647AD4}" type="parTrans" cxnId="{3C5FF92E-ADAA-49BD-A596-097F452F82CD}">
      <dgm:prSet/>
      <dgm:spPr/>
      <dgm:t>
        <a:bodyPr/>
        <a:lstStyle/>
        <a:p>
          <a:endParaRPr lang="en-US"/>
        </a:p>
      </dgm:t>
    </dgm:pt>
    <dgm:pt modelId="{43C552C4-D35B-4AD7-AD4C-3D79C41F8EE0}" type="sibTrans" cxnId="{3C5FF92E-ADAA-49BD-A596-097F452F82CD}">
      <dgm:prSet/>
      <dgm:spPr/>
      <dgm:t>
        <a:bodyPr/>
        <a:lstStyle/>
        <a:p>
          <a:endParaRPr lang="en-US"/>
        </a:p>
      </dgm:t>
    </dgm:pt>
    <dgm:pt modelId="{A72F4E78-4C0B-4D05-BAAA-251DEA6CFA03}">
      <dgm:prSet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Definición de Aprendizaje</a:t>
          </a:r>
          <a:endParaRPr lang="en-US" dirty="0"/>
        </a:p>
      </dgm:t>
    </dgm:pt>
    <dgm:pt modelId="{ED4B3991-24B5-47CB-9AD7-2B3BE8887921}" type="parTrans" cxnId="{E0555687-CC85-488A-B07F-42DE1F34007C}">
      <dgm:prSet/>
      <dgm:spPr/>
      <dgm:t>
        <a:bodyPr/>
        <a:lstStyle/>
        <a:p>
          <a:endParaRPr lang="en-US"/>
        </a:p>
      </dgm:t>
    </dgm:pt>
    <dgm:pt modelId="{E50537FD-1472-46F0-B353-30D91F278D34}" type="sibTrans" cxnId="{E0555687-CC85-488A-B07F-42DE1F34007C}">
      <dgm:prSet/>
      <dgm:spPr/>
      <dgm:t>
        <a:bodyPr/>
        <a:lstStyle/>
        <a:p>
          <a:endParaRPr lang="en-US"/>
        </a:p>
      </dgm:t>
    </dgm:pt>
    <dgm:pt modelId="{81336056-1771-4199-B8C6-EC554EAF44B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s-MX" b="1" dirty="0">
              <a:solidFill>
                <a:schemeClr val="accent3">
                  <a:lumMod val="60000"/>
                  <a:lumOff val="40000"/>
                </a:schemeClr>
              </a:solidFill>
              <a:latin typeface="Avenir Next LT Pro"/>
            </a:rPr>
            <a:t>2.- </a:t>
          </a:r>
          <a:r>
            <a:rPr lang="es-MX" b="0" dirty="0">
              <a:solidFill>
                <a:schemeClr val="accent3">
                  <a:lumMod val="60000"/>
                  <a:lumOff val="40000"/>
                </a:schemeClr>
              </a:solidFill>
              <a:latin typeface="Avenir Next LT Pro"/>
            </a:rPr>
            <a:t>Matemáticas para el Aprendizaje Automático  y Regresión Lineal</a:t>
          </a:r>
          <a:endParaRPr lang="en-US" dirty="0">
            <a:solidFill>
              <a:schemeClr val="accent3">
                <a:lumMod val="60000"/>
                <a:lumOff val="40000"/>
              </a:schemeClr>
            </a:solidFill>
          </a:endParaRPr>
        </a:p>
      </dgm:t>
    </dgm:pt>
    <dgm:pt modelId="{9897D1F5-112E-4AD1-BDED-75906F23D39D}" type="parTrans" cxnId="{DC037204-84A4-4AFD-8050-96628ADC00A7}">
      <dgm:prSet/>
      <dgm:spPr/>
      <dgm:t>
        <a:bodyPr/>
        <a:lstStyle/>
        <a:p>
          <a:endParaRPr lang="en-US"/>
        </a:p>
      </dgm:t>
    </dgm:pt>
    <dgm:pt modelId="{A96EC2BE-8166-4E11-90DB-5AA344D5E47C}" type="sibTrans" cxnId="{DC037204-84A4-4AFD-8050-96628ADC00A7}">
      <dgm:prSet/>
      <dgm:spPr/>
      <dgm:t>
        <a:bodyPr/>
        <a:lstStyle/>
        <a:p>
          <a:endParaRPr lang="en-US"/>
        </a:p>
      </dgm:t>
    </dgm:pt>
    <dgm:pt modelId="{5995C0C8-F45A-4B6B-A9DD-9B54A04150DF}">
      <dgm:prSet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Espacios vectoriales</a:t>
          </a:r>
          <a:endParaRPr lang="en-US" b="0" dirty="0">
            <a:latin typeface="Avenir Next LT Pro"/>
          </a:endParaRPr>
        </a:p>
      </dgm:t>
    </dgm:pt>
    <dgm:pt modelId="{E1155520-A713-4841-AC59-8527BD2C2B96}" type="parTrans" cxnId="{CD84F8E3-0C90-4E33-A3C2-77517A55B35C}">
      <dgm:prSet/>
      <dgm:spPr/>
      <dgm:t>
        <a:bodyPr/>
        <a:lstStyle/>
        <a:p>
          <a:endParaRPr lang="en-US"/>
        </a:p>
      </dgm:t>
    </dgm:pt>
    <dgm:pt modelId="{C3360045-62CD-47DD-9E74-8D497B0A6269}" type="sibTrans" cxnId="{CD84F8E3-0C90-4E33-A3C2-77517A55B35C}">
      <dgm:prSet/>
      <dgm:spPr/>
      <dgm:t>
        <a:bodyPr/>
        <a:lstStyle/>
        <a:p>
          <a:endParaRPr lang="en-US"/>
        </a:p>
      </dgm:t>
    </dgm:pt>
    <dgm:pt modelId="{F282D659-B62A-4E74-A2E0-265631FAD638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s-MX" b="1" dirty="0">
              <a:solidFill>
                <a:schemeClr val="accent4"/>
              </a:solidFill>
              <a:latin typeface="Avenir Next LT Pro"/>
            </a:rPr>
            <a:t>3.-Redes</a:t>
          </a:r>
          <a:r>
            <a:rPr lang="es-MX" dirty="0">
              <a:solidFill>
                <a:schemeClr val="accent4"/>
              </a:solidFill>
              <a:latin typeface="Avenir Next LT Pro"/>
            </a:rPr>
            <a:t> Neuronales</a:t>
          </a:r>
          <a:endParaRPr lang="es-ES" b="1" dirty="0"/>
        </a:p>
      </dgm:t>
    </dgm:pt>
    <dgm:pt modelId="{5999DA28-2137-43C9-B146-F94DF8F22726}" type="parTrans" cxnId="{EC0B5997-D366-4B49-A5F7-7B9B7B8D283B}">
      <dgm:prSet/>
      <dgm:spPr/>
      <dgm:t>
        <a:bodyPr/>
        <a:lstStyle/>
        <a:p>
          <a:endParaRPr lang="en-US"/>
        </a:p>
      </dgm:t>
    </dgm:pt>
    <dgm:pt modelId="{3F99CB76-8DB9-4F26-BA99-F6C37B3F4AF5}" type="sibTrans" cxnId="{EC0B5997-D366-4B49-A5F7-7B9B7B8D283B}">
      <dgm:prSet/>
      <dgm:spPr/>
      <dgm:t>
        <a:bodyPr/>
        <a:lstStyle/>
        <a:p>
          <a:endParaRPr lang="en-US"/>
        </a:p>
      </dgm:t>
    </dgm:pt>
    <dgm:pt modelId="{58D72A0F-CB70-486A-8082-E52F23E38835}">
      <dgm:prSet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Redes</a:t>
          </a:r>
          <a:r>
            <a:rPr lang="es-MX" dirty="0">
              <a:latin typeface="Avenir Next LT Pro"/>
            </a:rPr>
            <a:t> Neuronales artificiales</a:t>
          </a:r>
          <a:endParaRPr lang="en-US" dirty="0"/>
        </a:p>
      </dgm:t>
    </dgm:pt>
    <dgm:pt modelId="{9AD14D6F-68D4-46D7-9678-7BE637428E00}" type="parTrans" cxnId="{A3E4C68E-82C5-4C3B-820B-2EB262E63B7D}">
      <dgm:prSet/>
      <dgm:spPr/>
      <dgm:t>
        <a:bodyPr/>
        <a:lstStyle/>
        <a:p>
          <a:endParaRPr lang="en-US"/>
        </a:p>
      </dgm:t>
    </dgm:pt>
    <dgm:pt modelId="{A8D40AD5-267C-4820-B9E7-894D94B52CD0}" type="sibTrans" cxnId="{A3E4C68E-82C5-4C3B-820B-2EB262E63B7D}">
      <dgm:prSet/>
      <dgm:spPr/>
      <dgm:t>
        <a:bodyPr/>
        <a:lstStyle/>
        <a:p>
          <a:endParaRPr lang="en-US"/>
        </a:p>
      </dgm:t>
    </dgm:pt>
    <dgm:pt modelId="{4064CECF-2A1C-4D10-BB40-34B56CB36C07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Mapeos</a:t>
          </a:r>
          <a:r>
            <a:rPr lang="es-MX" dirty="0">
              <a:latin typeface="Avenir Next LT Pro"/>
            </a:rPr>
            <a:t> Lineales</a:t>
          </a:r>
          <a:endParaRPr lang="es-MX" dirty="0"/>
        </a:p>
      </dgm:t>
    </dgm:pt>
    <dgm:pt modelId="{45DD6321-A865-4ACC-9373-A97735084159}" type="parTrans" cxnId="{C9BDE75D-36EC-499D-8804-20BF9D2DD075}">
      <dgm:prSet/>
      <dgm:spPr/>
      <dgm:t>
        <a:bodyPr/>
        <a:lstStyle/>
        <a:p>
          <a:endParaRPr lang="en-US"/>
        </a:p>
      </dgm:t>
    </dgm:pt>
    <dgm:pt modelId="{3490407E-1793-4C2D-89E3-4BA747A13EB8}" type="sibTrans" cxnId="{C9BDE75D-36EC-499D-8804-20BF9D2DD075}">
      <dgm:prSet/>
      <dgm:spPr/>
      <dgm:t>
        <a:bodyPr/>
        <a:lstStyle/>
        <a:p>
          <a:endParaRPr lang="en-US"/>
        </a:p>
      </dgm:t>
    </dgm:pt>
    <dgm:pt modelId="{1C6D400B-90EB-4958-94B6-7DEB584D7FD5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Aplicaciones de Aprendizaje Automático</a:t>
          </a:r>
        </a:p>
      </dgm:t>
    </dgm:pt>
    <dgm:pt modelId="{E4CA45A0-5AD8-47DD-B092-97A30B1A6806}" type="parTrans" cxnId="{FB4E38A4-2D77-463E-A7B4-6C364828F952}">
      <dgm:prSet/>
      <dgm:spPr/>
      <dgm:t>
        <a:bodyPr/>
        <a:lstStyle/>
        <a:p>
          <a:endParaRPr lang="en-US"/>
        </a:p>
      </dgm:t>
    </dgm:pt>
    <dgm:pt modelId="{4DEB941C-E340-47BA-A520-CD681EBC5567}" type="sibTrans" cxnId="{FB4E38A4-2D77-463E-A7B4-6C364828F952}">
      <dgm:prSet/>
      <dgm:spPr/>
      <dgm:t>
        <a:bodyPr/>
        <a:lstStyle/>
        <a:p>
          <a:endParaRPr lang="en-US"/>
        </a:p>
      </dgm:t>
    </dgm:pt>
    <dgm:pt modelId="{977842BD-D8A5-4108-A517-5FEFD41491F3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Independencia</a:t>
          </a:r>
          <a:r>
            <a:rPr lang="es-MX" dirty="0">
              <a:latin typeface="Avenir Next LT Pro"/>
            </a:rPr>
            <a:t> Lineal</a:t>
          </a:r>
          <a:endParaRPr lang="es-ES" dirty="0">
            <a:latin typeface="Avenir Next LT Pro"/>
          </a:endParaRPr>
        </a:p>
      </dgm:t>
    </dgm:pt>
    <dgm:pt modelId="{59539CF2-1F65-44A4-98DF-31BBBCD94E66}" type="parTrans" cxnId="{A123342A-0B1F-452B-B50E-DD239896A148}">
      <dgm:prSet/>
      <dgm:spPr/>
      <dgm:t>
        <a:bodyPr/>
        <a:lstStyle/>
        <a:p>
          <a:endParaRPr lang="en-US"/>
        </a:p>
      </dgm:t>
    </dgm:pt>
    <dgm:pt modelId="{C4901418-3327-4B1F-BBC5-A592D8172A31}" type="sibTrans" cxnId="{A123342A-0B1F-452B-B50E-DD239896A148}">
      <dgm:prSet/>
      <dgm:spPr/>
      <dgm:t>
        <a:bodyPr/>
        <a:lstStyle/>
        <a:p>
          <a:endParaRPr lang="en-US"/>
        </a:p>
      </dgm:t>
    </dgm:pt>
    <dgm:pt modelId="{9D8CED69-5531-43D6-80D7-42499A3727B3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dirty="0">
              <a:latin typeface="Avenir Next LT Pro"/>
            </a:rPr>
            <a:t>Retropropagación</a:t>
          </a:r>
        </a:p>
      </dgm:t>
    </dgm:pt>
    <dgm:pt modelId="{335AB5BF-24A5-4610-BA08-D1D4BA126021}" type="parTrans" cxnId="{6D9F2A6B-B6F6-479D-AAE7-2A3373BADDA4}">
      <dgm:prSet/>
      <dgm:spPr/>
      <dgm:t>
        <a:bodyPr/>
        <a:lstStyle/>
        <a:p>
          <a:endParaRPr lang="en-US"/>
        </a:p>
      </dgm:t>
    </dgm:pt>
    <dgm:pt modelId="{98CD325C-DD17-4757-9F9A-D6DB5A0DF65D}" type="sibTrans" cxnId="{6D9F2A6B-B6F6-479D-AAE7-2A3373BADDA4}">
      <dgm:prSet/>
      <dgm:spPr/>
      <dgm:t>
        <a:bodyPr/>
        <a:lstStyle/>
        <a:p>
          <a:endParaRPr lang="en-US"/>
        </a:p>
      </dgm:t>
    </dgm:pt>
    <dgm:pt modelId="{F1D11AA0-BDE8-4428-8C27-A877593011D5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b="0" dirty="0">
              <a:latin typeface="Avenir Next LT Pro"/>
            </a:rPr>
            <a:t>Librerías de Python (</a:t>
          </a:r>
          <a:r>
            <a:rPr lang="es-MX" b="0" dirty="0" err="1">
              <a:latin typeface="Avenir Next LT Pro"/>
            </a:rPr>
            <a:t>Numpy</a:t>
          </a:r>
          <a:r>
            <a:rPr lang="es-MX" b="0" dirty="0">
              <a:latin typeface="Avenir Next LT Pro"/>
            </a:rPr>
            <a:t>, Pandas, </a:t>
          </a:r>
          <a:r>
            <a:rPr lang="es-MX" b="0" dirty="0" err="1">
              <a:latin typeface="Avenir Next LT Pro"/>
            </a:rPr>
            <a:t>Matplotlib</a:t>
          </a:r>
          <a:r>
            <a:rPr lang="es-MX" b="0" dirty="0">
              <a:latin typeface="Avenir Next LT Pro"/>
            </a:rPr>
            <a:t>)</a:t>
          </a:r>
        </a:p>
      </dgm:t>
    </dgm:pt>
    <dgm:pt modelId="{CD04A1FD-F52A-4795-B33E-5CC16584C82F}" type="parTrans" cxnId="{8553FE06-F0C4-4072-A947-420377C2977D}">
      <dgm:prSet/>
      <dgm:spPr/>
      <dgm:t>
        <a:bodyPr/>
        <a:lstStyle/>
        <a:p>
          <a:endParaRPr lang="en-US"/>
        </a:p>
      </dgm:t>
    </dgm:pt>
    <dgm:pt modelId="{1FE93B67-66D3-4623-9328-049479CDF0A3}" type="sibTrans" cxnId="{8553FE06-F0C4-4072-A947-420377C2977D}">
      <dgm:prSet/>
      <dgm:spPr/>
      <dgm:t>
        <a:bodyPr/>
        <a:lstStyle/>
        <a:p>
          <a:endParaRPr lang="en-US"/>
        </a:p>
      </dgm:t>
    </dgm:pt>
    <dgm:pt modelId="{1E6DAEBA-675D-4177-BE3E-A5513CF132A0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dirty="0">
              <a:latin typeface="Avenir Next LT Pro"/>
            </a:rPr>
            <a:t>Base</a:t>
          </a:r>
          <a:r>
            <a:rPr lang="es-MX" b="0" dirty="0">
              <a:latin typeface="Avenir Next LT Pro"/>
            </a:rPr>
            <a:t> y Rango</a:t>
          </a:r>
          <a:endParaRPr lang="es-ES" dirty="0"/>
        </a:p>
      </dgm:t>
    </dgm:pt>
    <dgm:pt modelId="{05AC0607-1E7C-4E70-821A-D529A9FAC45B}" type="parTrans" cxnId="{5DAB1526-BE73-4CEB-8614-5090FE2757BE}">
      <dgm:prSet/>
      <dgm:spPr/>
      <dgm:t>
        <a:bodyPr/>
        <a:lstStyle/>
        <a:p>
          <a:endParaRPr lang="en-US"/>
        </a:p>
      </dgm:t>
    </dgm:pt>
    <dgm:pt modelId="{A15FFF55-A813-4399-A888-83D7A856EFDA}" type="sibTrans" cxnId="{5DAB1526-BE73-4CEB-8614-5090FE2757BE}">
      <dgm:prSet/>
      <dgm:spPr/>
      <dgm:t>
        <a:bodyPr/>
        <a:lstStyle/>
        <a:p>
          <a:endParaRPr lang="en-US"/>
        </a:p>
      </dgm:t>
    </dgm:pt>
    <dgm:pt modelId="{66714A03-FE7A-49CC-B235-5576FE57617D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MX" b="0" dirty="0"/>
            <a:t>Clasificadores Lineales</a:t>
          </a:r>
          <a:endParaRPr lang="es-MX" b="0" dirty="0">
            <a:latin typeface="Avenir Next LT Pro"/>
          </a:endParaRPr>
        </a:p>
      </dgm:t>
    </dgm:pt>
    <dgm:pt modelId="{BC26EBAA-5273-49DE-8B0D-55C029035AFB}" type="parTrans" cxnId="{D49258E9-A262-4106-A914-4A6CE6124B47}">
      <dgm:prSet/>
      <dgm:spPr/>
      <dgm:t>
        <a:bodyPr/>
        <a:lstStyle/>
        <a:p>
          <a:endParaRPr lang="en-US"/>
        </a:p>
      </dgm:t>
    </dgm:pt>
    <dgm:pt modelId="{7DC16128-1441-40D9-8C9E-40CD86ADED65}" type="sibTrans" cxnId="{D49258E9-A262-4106-A914-4A6CE6124B47}">
      <dgm:prSet/>
      <dgm:spPr/>
      <dgm:t>
        <a:bodyPr/>
        <a:lstStyle/>
        <a:p>
          <a:endParaRPr lang="en-US"/>
        </a:p>
      </dgm:t>
    </dgm:pt>
    <dgm:pt modelId="{4B8B8B0D-CE3C-4F64-8008-741D66BCA523}" type="pres">
      <dgm:prSet presAssocID="{AD1E1413-E8C3-4209-BA37-81027F070208}" presName="root" presStyleCnt="0">
        <dgm:presLayoutVars>
          <dgm:dir/>
          <dgm:resizeHandles val="exact"/>
        </dgm:presLayoutVars>
      </dgm:prSet>
      <dgm:spPr/>
    </dgm:pt>
    <dgm:pt modelId="{FB10120C-85EA-4A70-AFA2-EAF65545BFFC}" type="pres">
      <dgm:prSet presAssocID="{2B9B9581-E58B-4532-9E01-D49BE023A8A3}" presName="compNode" presStyleCnt="0"/>
      <dgm:spPr/>
    </dgm:pt>
    <dgm:pt modelId="{02B58632-EAAA-4928-B093-38C902F1AECB}" type="pres">
      <dgm:prSet presAssocID="{2B9B9581-E58B-4532-9E01-D49BE023A8A3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259595AE-A228-4520-BC90-BA52BDBF3B68}" type="pres">
      <dgm:prSet presAssocID="{2B9B9581-E58B-4532-9E01-D49BE023A8A3}" presName="iconSpace" presStyleCnt="0"/>
      <dgm:spPr/>
    </dgm:pt>
    <dgm:pt modelId="{B1D8BA30-A782-430A-ABF5-A0ADBCA3B75E}" type="pres">
      <dgm:prSet presAssocID="{2B9B9581-E58B-4532-9E01-D49BE023A8A3}" presName="parTx" presStyleLbl="revTx" presStyleIdx="0" presStyleCnt="6">
        <dgm:presLayoutVars>
          <dgm:chMax val="0"/>
          <dgm:chPref val="0"/>
        </dgm:presLayoutVars>
      </dgm:prSet>
      <dgm:spPr/>
    </dgm:pt>
    <dgm:pt modelId="{57678D7F-DA35-4328-906E-28112AAB519F}" type="pres">
      <dgm:prSet presAssocID="{2B9B9581-E58B-4532-9E01-D49BE023A8A3}" presName="txSpace" presStyleCnt="0"/>
      <dgm:spPr/>
    </dgm:pt>
    <dgm:pt modelId="{638300DE-91B0-4FF1-AAB8-01BBCF6D9438}" type="pres">
      <dgm:prSet presAssocID="{2B9B9581-E58B-4532-9E01-D49BE023A8A3}" presName="desTx" presStyleLbl="revTx" presStyleIdx="1" presStyleCnt="6">
        <dgm:presLayoutVars/>
      </dgm:prSet>
      <dgm:spPr/>
    </dgm:pt>
    <dgm:pt modelId="{C990072D-4965-4F3C-A475-C66E5F4069B2}" type="pres">
      <dgm:prSet presAssocID="{43C552C4-D35B-4AD7-AD4C-3D79C41F8EE0}" presName="sibTrans" presStyleCnt="0"/>
      <dgm:spPr/>
    </dgm:pt>
    <dgm:pt modelId="{2D243E82-F645-4437-9868-22A89A0171FD}" type="pres">
      <dgm:prSet presAssocID="{81336056-1771-4199-B8C6-EC554EAF44BC}" presName="compNode" presStyleCnt="0"/>
      <dgm:spPr/>
    </dgm:pt>
    <dgm:pt modelId="{94F1BFC2-EDC2-4CC3-878B-C5D4ADEE7DDB}" type="pres">
      <dgm:prSet presAssocID="{81336056-1771-4199-B8C6-EC554EAF44BC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se de datos"/>
        </a:ext>
      </dgm:extLst>
    </dgm:pt>
    <dgm:pt modelId="{13FEE942-0C62-4197-A3D4-148CA36CA47E}" type="pres">
      <dgm:prSet presAssocID="{81336056-1771-4199-B8C6-EC554EAF44BC}" presName="iconSpace" presStyleCnt="0"/>
      <dgm:spPr/>
    </dgm:pt>
    <dgm:pt modelId="{4E7586C0-6C49-4D9D-9B6B-F9EACEC36654}" type="pres">
      <dgm:prSet presAssocID="{81336056-1771-4199-B8C6-EC554EAF44BC}" presName="parTx" presStyleLbl="revTx" presStyleIdx="2" presStyleCnt="6">
        <dgm:presLayoutVars>
          <dgm:chMax val="0"/>
          <dgm:chPref val="0"/>
        </dgm:presLayoutVars>
      </dgm:prSet>
      <dgm:spPr/>
    </dgm:pt>
    <dgm:pt modelId="{4640ABC3-CCAD-4825-A2DB-576B75A84FEE}" type="pres">
      <dgm:prSet presAssocID="{81336056-1771-4199-B8C6-EC554EAF44BC}" presName="txSpace" presStyleCnt="0"/>
      <dgm:spPr/>
    </dgm:pt>
    <dgm:pt modelId="{AB58A571-81EB-4662-8C7D-3166B7DCE1E6}" type="pres">
      <dgm:prSet presAssocID="{81336056-1771-4199-B8C6-EC554EAF44BC}" presName="desTx" presStyleLbl="revTx" presStyleIdx="3" presStyleCnt="6">
        <dgm:presLayoutVars/>
      </dgm:prSet>
      <dgm:spPr/>
    </dgm:pt>
    <dgm:pt modelId="{9ABF674D-FBBB-483B-B1BD-DFC1A660682F}" type="pres">
      <dgm:prSet presAssocID="{A96EC2BE-8166-4E11-90DB-5AA344D5E47C}" presName="sibTrans" presStyleCnt="0"/>
      <dgm:spPr/>
    </dgm:pt>
    <dgm:pt modelId="{C2AB6867-B3F7-4561-9B48-D63DF03CBA77}" type="pres">
      <dgm:prSet presAssocID="{F282D659-B62A-4E74-A2E0-265631FAD638}" presName="compNode" presStyleCnt="0"/>
      <dgm:spPr/>
    </dgm:pt>
    <dgm:pt modelId="{FBA9D758-5530-4F62-A00D-2E6016EED0C3}" type="pres">
      <dgm:prSet presAssocID="{F282D659-B62A-4E74-A2E0-265631FAD638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adísticas"/>
        </a:ext>
      </dgm:extLst>
    </dgm:pt>
    <dgm:pt modelId="{BD56CD1A-780D-4F87-8950-A5C721B5D527}" type="pres">
      <dgm:prSet presAssocID="{F282D659-B62A-4E74-A2E0-265631FAD638}" presName="iconSpace" presStyleCnt="0"/>
      <dgm:spPr/>
    </dgm:pt>
    <dgm:pt modelId="{A5373F82-1385-4706-B358-2124CE65788F}" type="pres">
      <dgm:prSet presAssocID="{F282D659-B62A-4E74-A2E0-265631FAD638}" presName="parTx" presStyleLbl="revTx" presStyleIdx="4" presStyleCnt="6">
        <dgm:presLayoutVars>
          <dgm:chMax val="0"/>
          <dgm:chPref val="0"/>
        </dgm:presLayoutVars>
      </dgm:prSet>
      <dgm:spPr/>
    </dgm:pt>
    <dgm:pt modelId="{5817C061-BCEC-414D-B577-A5856346DC3D}" type="pres">
      <dgm:prSet presAssocID="{F282D659-B62A-4E74-A2E0-265631FAD638}" presName="txSpace" presStyleCnt="0"/>
      <dgm:spPr/>
    </dgm:pt>
    <dgm:pt modelId="{CA7AEC1F-9784-424B-AB77-DEC3A5F61E29}" type="pres">
      <dgm:prSet presAssocID="{F282D659-B62A-4E74-A2E0-265631FAD638}" presName="desTx" presStyleLbl="revTx" presStyleIdx="5" presStyleCnt="6">
        <dgm:presLayoutVars/>
      </dgm:prSet>
      <dgm:spPr/>
    </dgm:pt>
  </dgm:ptLst>
  <dgm:cxnLst>
    <dgm:cxn modelId="{DC037204-84A4-4AFD-8050-96628ADC00A7}" srcId="{AD1E1413-E8C3-4209-BA37-81027F070208}" destId="{81336056-1771-4199-B8C6-EC554EAF44BC}" srcOrd="1" destOrd="0" parTransId="{9897D1F5-112E-4AD1-BDED-75906F23D39D}" sibTransId="{A96EC2BE-8166-4E11-90DB-5AA344D5E47C}"/>
    <dgm:cxn modelId="{8553FE06-F0C4-4072-A947-420377C2977D}" srcId="{2B9B9581-E58B-4532-9E01-D49BE023A8A3}" destId="{F1D11AA0-BDE8-4428-8C27-A877593011D5}" srcOrd="2" destOrd="0" parTransId="{CD04A1FD-F52A-4795-B33E-5CC16584C82F}" sibTransId="{1FE93B67-66D3-4623-9328-049479CDF0A3}"/>
    <dgm:cxn modelId="{EE21061B-A0FA-4B57-B8A8-029FDC9F97A1}" type="presOf" srcId="{5995C0C8-F45A-4B6B-A9DD-9B54A04150DF}" destId="{AB58A571-81EB-4662-8C7D-3166B7DCE1E6}" srcOrd="0" destOrd="0" presId="urn:microsoft.com/office/officeart/2018/2/layout/IconLabelDescriptionList"/>
    <dgm:cxn modelId="{DEEE6F24-1611-4AD5-8B02-9F24C1FC5465}" type="presOf" srcId="{F282D659-B62A-4E74-A2E0-265631FAD638}" destId="{A5373F82-1385-4706-B358-2124CE65788F}" srcOrd="0" destOrd="0" presId="urn:microsoft.com/office/officeart/2018/2/layout/IconLabelDescriptionList"/>
    <dgm:cxn modelId="{5DAB1526-BE73-4CEB-8614-5090FE2757BE}" srcId="{81336056-1771-4199-B8C6-EC554EAF44BC}" destId="{1E6DAEBA-675D-4177-BE3E-A5513CF132A0}" srcOrd="2" destOrd="0" parTransId="{05AC0607-1E7C-4E70-821A-D529A9FAC45B}" sibTransId="{A15FFF55-A813-4399-A888-83D7A856EFDA}"/>
    <dgm:cxn modelId="{A123342A-0B1F-452B-B50E-DD239896A148}" srcId="{81336056-1771-4199-B8C6-EC554EAF44BC}" destId="{977842BD-D8A5-4108-A517-5FEFD41491F3}" srcOrd="1" destOrd="0" parTransId="{59539CF2-1F65-44A4-98DF-31BBBCD94E66}" sibTransId="{C4901418-3327-4B1F-BBC5-A592D8172A31}"/>
    <dgm:cxn modelId="{3C5FF92E-ADAA-49BD-A596-097F452F82CD}" srcId="{AD1E1413-E8C3-4209-BA37-81027F070208}" destId="{2B9B9581-E58B-4532-9E01-D49BE023A8A3}" srcOrd="0" destOrd="0" parTransId="{2B7AC10F-5B88-456C-9D19-981A39647AD4}" sibTransId="{43C552C4-D35B-4AD7-AD4C-3D79C41F8EE0}"/>
    <dgm:cxn modelId="{FA6B1C38-F507-42BE-84AC-A084283E8225}" type="presOf" srcId="{66714A03-FE7A-49CC-B235-5576FE57617D}" destId="{AB58A571-81EB-4662-8C7D-3166B7DCE1E6}" srcOrd="0" destOrd="4" presId="urn:microsoft.com/office/officeart/2018/2/layout/IconLabelDescriptionList"/>
    <dgm:cxn modelId="{7972E43A-FB00-4CD0-84CF-D34AA53E8194}" type="presOf" srcId="{F1D11AA0-BDE8-4428-8C27-A877593011D5}" destId="{638300DE-91B0-4FF1-AAB8-01BBCF6D9438}" srcOrd="0" destOrd="2" presId="urn:microsoft.com/office/officeart/2018/2/layout/IconLabelDescriptionList"/>
    <dgm:cxn modelId="{C9BDE75D-36EC-499D-8804-20BF9D2DD075}" srcId="{81336056-1771-4199-B8C6-EC554EAF44BC}" destId="{4064CECF-2A1C-4D10-BB40-34B56CB36C07}" srcOrd="3" destOrd="0" parTransId="{45DD6321-A865-4ACC-9373-A97735084159}" sibTransId="{3490407E-1793-4C2D-89E3-4BA747A13EB8}"/>
    <dgm:cxn modelId="{6D9F2A6B-B6F6-479D-AAE7-2A3373BADDA4}" srcId="{F282D659-B62A-4E74-A2E0-265631FAD638}" destId="{9D8CED69-5531-43D6-80D7-42499A3727B3}" srcOrd="1" destOrd="0" parTransId="{335AB5BF-24A5-4610-BA08-D1D4BA126021}" sibTransId="{98CD325C-DD17-4757-9F9A-D6DB5A0DF65D}"/>
    <dgm:cxn modelId="{487D586B-8570-4E79-8A52-A0D36B096FAB}" type="presOf" srcId="{977842BD-D8A5-4108-A517-5FEFD41491F3}" destId="{AB58A571-81EB-4662-8C7D-3166B7DCE1E6}" srcOrd="0" destOrd="1" presId="urn:microsoft.com/office/officeart/2018/2/layout/IconLabelDescriptionList"/>
    <dgm:cxn modelId="{E7F20672-3501-4764-A849-A7B6108BB61F}" type="presOf" srcId="{2B9B9581-E58B-4532-9E01-D49BE023A8A3}" destId="{B1D8BA30-A782-430A-ABF5-A0ADBCA3B75E}" srcOrd="0" destOrd="0" presId="urn:microsoft.com/office/officeart/2018/2/layout/IconLabelDescriptionList"/>
    <dgm:cxn modelId="{7D87617B-BFD4-473A-A451-CDB9AB78EFA7}" type="presOf" srcId="{1C6D400B-90EB-4958-94B6-7DEB584D7FD5}" destId="{638300DE-91B0-4FF1-AAB8-01BBCF6D9438}" srcOrd="0" destOrd="1" presId="urn:microsoft.com/office/officeart/2018/2/layout/IconLabelDescriptionList"/>
    <dgm:cxn modelId="{450D8C85-9327-49AA-9500-31C5965ACDF3}" type="presOf" srcId="{58D72A0F-CB70-486A-8082-E52F23E38835}" destId="{CA7AEC1F-9784-424B-AB77-DEC3A5F61E29}" srcOrd="0" destOrd="0" presId="urn:microsoft.com/office/officeart/2018/2/layout/IconLabelDescriptionList"/>
    <dgm:cxn modelId="{E0555687-CC85-488A-B07F-42DE1F34007C}" srcId="{2B9B9581-E58B-4532-9E01-D49BE023A8A3}" destId="{A72F4E78-4C0B-4D05-BAAA-251DEA6CFA03}" srcOrd="0" destOrd="0" parTransId="{ED4B3991-24B5-47CB-9AD7-2B3BE8887921}" sibTransId="{E50537FD-1472-46F0-B353-30D91F278D34}"/>
    <dgm:cxn modelId="{A3E4C68E-82C5-4C3B-820B-2EB262E63B7D}" srcId="{F282D659-B62A-4E74-A2E0-265631FAD638}" destId="{58D72A0F-CB70-486A-8082-E52F23E38835}" srcOrd="0" destOrd="0" parTransId="{9AD14D6F-68D4-46D7-9678-7BE637428E00}" sibTransId="{A8D40AD5-267C-4820-B9E7-894D94B52CD0}"/>
    <dgm:cxn modelId="{49158390-96AB-4552-98BA-8882F2DE25D6}" type="presOf" srcId="{AD1E1413-E8C3-4209-BA37-81027F070208}" destId="{4B8B8B0D-CE3C-4F64-8008-741D66BCA523}" srcOrd="0" destOrd="0" presId="urn:microsoft.com/office/officeart/2018/2/layout/IconLabelDescriptionList"/>
    <dgm:cxn modelId="{EC0B5997-D366-4B49-A5F7-7B9B7B8D283B}" srcId="{AD1E1413-E8C3-4209-BA37-81027F070208}" destId="{F282D659-B62A-4E74-A2E0-265631FAD638}" srcOrd="2" destOrd="0" parTransId="{5999DA28-2137-43C9-B146-F94DF8F22726}" sibTransId="{3F99CB76-8DB9-4F26-BA99-F6C37B3F4AF5}"/>
    <dgm:cxn modelId="{FB4E38A4-2D77-463E-A7B4-6C364828F952}" srcId="{2B9B9581-E58B-4532-9E01-D49BE023A8A3}" destId="{1C6D400B-90EB-4958-94B6-7DEB584D7FD5}" srcOrd="1" destOrd="0" parTransId="{E4CA45A0-5AD8-47DD-B092-97A30B1A6806}" sibTransId="{4DEB941C-E340-47BA-A520-CD681EBC5567}"/>
    <dgm:cxn modelId="{47FEBACA-CDCE-4BF7-8B88-D6C2D46D512E}" type="presOf" srcId="{9D8CED69-5531-43D6-80D7-42499A3727B3}" destId="{CA7AEC1F-9784-424B-AB77-DEC3A5F61E29}" srcOrd="0" destOrd="1" presId="urn:microsoft.com/office/officeart/2018/2/layout/IconLabelDescriptionList"/>
    <dgm:cxn modelId="{24ABCDCE-1620-497F-BB3A-0450D5C9CE43}" type="presOf" srcId="{1E6DAEBA-675D-4177-BE3E-A5513CF132A0}" destId="{AB58A571-81EB-4662-8C7D-3166B7DCE1E6}" srcOrd="0" destOrd="2" presId="urn:microsoft.com/office/officeart/2018/2/layout/IconLabelDescriptionList"/>
    <dgm:cxn modelId="{CD84F8E3-0C90-4E33-A3C2-77517A55B35C}" srcId="{81336056-1771-4199-B8C6-EC554EAF44BC}" destId="{5995C0C8-F45A-4B6B-A9DD-9B54A04150DF}" srcOrd="0" destOrd="0" parTransId="{E1155520-A713-4841-AC59-8527BD2C2B96}" sibTransId="{C3360045-62CD-47DD-9E74-8D497B0A6269}"/>
    <dgm:cxn modelId="{8F66AEE6-3004-44A2-B773-0A68B81FF66E}" type="presOf" srcId="{A72F4E78-4C0B-4D05-BAAA-251DEA6CFA03}" destId="{638300DE-91B0-4FF1-AAB8-01BBCF6D9438}" srcOrd="0" destOrd="0" presId="urn:microsoft.com/office/officeart/2018/2/layout/IconLabelDescriptionList"/>
    <dgm:cxn modelId="{D49258E9-A262-4106-A914-4A6CE6124B47}" srcId="{81336056-1771-4199-B8C6-EC554EAF44BC}" destId="{66714A03-FE7A-49CC-B235-5576FE57617D}" srcOrd="4" destOrd="0" parTransId="{BC26EBAA-5273-49DE-8B0D-55C029035AFB}" sibTransId="{7DC16128-1441-40D9-8C9E-40CD86ADED65}"/>
    <dgm:cxn modelId="{D2932EF4-BB47-46CC-8CA2-E25E18796EE3}" type="presOf" srcId="{81336056-1771-4199-B8C6-EC554EAF44BC}" destId="{4E7586C0-6C49-4D9D-9B6B-F9EACEC36654}" srcOrd="0" destOrd="0" presId="urn:microsoft.com/office/officeart/2018/2/layout/IconLabelDescriptionList"/>
    <dgm:cxn modelId="{6FCA21F9-FC98-4A02-90EC-0D94C5AEB4C4}" type="presOf" srcId="{4064CECF-2A1C-4D10-BB40-34B56CB36C07}" destId="{AB58A571-81EB-4662-8C7D-3166B7DCE1E6}" srcOrd="0" destOrd="3" presId="urn:microsoft.com/office/officeart/2018/2/layout/IconLabelDescriptionList"/>
    <dgm:cxn modelId="{95B58F5E-5766-48C3-A41A-50BABB227C4C}" type="presParOf" srcId="{4B8B8B0D-CE3C-4F64-8008-741D66BCA523}" destId="{FB10120C-85EA-4A70-AFA2-EAF65545BFFC}" srcOrd="0" destOrd="0" presId="urn:microsoft.com/office/officeart/2018/2/layout/IconLabelDescriptionList"/>
    <dgm:cxn modelId="{DE69EA3C-CC30-4AE8-BAF9-627C19F0C2C0}" type="presParOf" srcId="{FB10120C-85EA-4A70-AFA2-EAF65545BFFC}" destId="{02B58632-EAAA-4928-B093-38C902F1AECB}" srcOrd="0" destOrd="0" presId="urn:microsoft.com/office/officeart/2018/2/layout/IconLabelDescriptionList"/>
    <dgm:cxn modelId="{1AF607BD-4D62-4FB6-AEAC-F4D843210F74}" type="presParOf" srcId="{FB10120C-85EA-4A70-AFA2-EAF65545BFFC}" destId="{259595AE-A228-4520-BC90-BA52BDBF3B68}" srcOrd="1" destOrd="0" presId="urn:microsoft.com/office/officeart/2018/2/layout/IconLabelDescriptionList"/>
    <dgm:cxn modelId="{3135B971-35F3-4E28-A9C6-8157AC589FED}" type="presParOf" srcId="{FB10120C-85EA-4A70-AFA2-EAF65545BFFC}" destId="{B1D8BA30-A782-430A-ABF5-A0ADBCA3B75E}" srcOrd="2" destOrd="0" presId="urn:microsoft.com/office/officeart/2018/2/layout/IconLabelDescriptionList"/>
    <dgm:cxn modelId="{269DD577-3439-4C54-913F-A118C5172EFE}" type="presParOf" srcId="{FB10120C-85EA-4A70-AFA2-EAF65545BFFC}" destId="{57678D7F-DA35-4328-906E-28112AAB519F}" srcOrd="3" destOrd="0" presId="urn:microsoft.com/office/officeart/2018/2/layout/IconLabelDescriptionList"/>
    <dgm:cxn modelId="{E4FB6EF2-64B4-4938-9BFB-7A7A281ECAEB}" type="presParOf" srcId="{FB10120C-85EA-4A70-AFA2-EAF65545BFFC}" destId="{638300DE-91B0-4FF1-AAB8-01BBCF6D9438}" srcOrd="4" destOrd="0" presId="urn:microsoft.com/office/officeart/2018/2/layout/IconLabelDescriptionList"/>
    <dgm:cxn modelId="{29CBB949-6382-4549-8C13-92E62E284316}" type="presParOf" srcId="{4B8B8B0D-CE3C-4F64-8008-741D66BCA523}" destId="{C990072D-4965-4F3C-A475-C66E5F4069B2}" srcOrd="1" destOrd="0" presId="urn:microsoft.com/office/officeart/2018/2/layout/IconLabelDescriptionList"/>
    <dgm:cxn modelId="{4234562D-874E-40EC-BC49-62E9250DDA4A}" type="presParOf" srcId="{4B8B8B0D-CE3C-4F64-8008-741D66BCA523}" destId="{2D243E82-F645-4437-9868-22A89A0171FD}" srcOrd="2" destOrd="0" presId="urn:microsoft.com/office/officeart/2018/2/layout/IconLabelDescriptionList"/>
    <dgm:cxn modelId="{77D86479-8D34-4308-B0CB-B5B787B681F3}" type="presParOf" srcId="{2D243E82-F645-4437-9868-22A89A0171FD}" destId="{94F1BFC2-EDC2-4CC3-878B-C5D4ADEE7DDB}" srcOrd="0" destOrd="0" presId="urn:microsoft.com/office/officeart/2018/2/layout/IconLabelDescriptionList"/>
    <dgm:cxn modelId="{B589AAFE-6FDA-468D-92F2-14B6971EEBCF}" type="presParOf" srcId="{2D243E82-F645-4437-9868-22A89A0171FD}" destId="{13FEE942-0C62-4197-A3D4-148CA36CA47E}" srcOrd="1" destOrd="0" presId="urn:microsoft.com/office/officeart/2018/2/layout/IconLabelDescriptionList"/>
    <dgm:cxn modelId="{049F69FF-382F-4166-B7EF-1CF5E5AA7213}" type="presParOf" srcId="{2D243E82-F645-4437-9868-22A89A0171FD}" destId="{4E7586C0-6C49-4D9D-9B6B-F9EACEC36654}" srcOrd="2" destOrd="0" presId="urn:microsoft.com/office/officeart/2018/2/layout/IconLabelDescriptionList"/>
    <dgm:cxn modelId="{F5AD45C3-291C-4EA8-AD7E-5B61857D7F40}" type="presParOf" srcId="{2D243E82-F645-4437-9868-22A89A0171FD}" destId="{4640ABC3-CCAD-4825-A2DB-576B75A84FEE}" srcOrd="3" destOrd="0" presId="urn:microsoft.com/office/officeart/2018/2/layout/IconLabelDescriptionList"/>
    <dgm:cxn modelId="{9B678604-4A6A-4DE2-8FB9-CB93054D4D5A}" type="presParOf" srcId="{2D243E82-F645-4437-9868-22A89A0171FD}" destId="{AB58A571-81EB-4662-8C7D-3166B7DCE1E6}" srcOrd="4" destOrd="0" presId="urn:microsoft.com/office/officeart/2018/2/layout/IconLabelDescriptionList"/>
    <dgm:cxn modelId="{CFB53806-BABB-42BB-81BF-1A96D0A98EDB}" type="presParOf" srcId="{4B8B8B0D-CE3C-4F64-8008-741D66BCA523}" destId="{9ABF674D-FBBB-483B-B1BD-DFC1A660682F}" srcOrd="3" destOrd="0" presId="urn:microsoft.com/office/officeart/2018/2/layout/IconLabelDescriptionList"/>
    <dgm:cxn modelId="{A8C4B175-8668-4BE6-A78D-6D36757E09F3}" type="presParOf" srcId="{4B8B8B0D-CE3C-4F64-8008-741D66BCA523}" destId="{C2AB6867-B3F7-4561-9B48-D63DF03CBA77}" srcOrd="4" destOrd="0" presId="urn:microsoft.com/office/officeart/2018/2/layout/IconLabelDescriptionList"/>
    <dgm:cxn modelId="{95C5886D-62BD-46B4-8284-F27074D4BF01}" type="presParOf" srcId="{C2AB6867-B3F7-4561-9B48-D63DF03CBA77}" destId="{FBA9D758-5530-4F62-A00D-2E6016EED0C3}" srcOrd="0" destOrd="0" presId="urn:microsoft.com/office/officeart/2018/2/layout/IconLabelDescriptionList"/>
    <dgm:cxn modelId="{BB53AB4F-F7BF-479A-BD17-1396B9E9B141}" type="presParOf" srcId="{C2AB6867-B3F7-4561-9B48-D63DF03CBA77}" destId="{BD56CD1A-780D-4F87-8950-A5C721B5D527}" srcOrd="1" destOrd="0" presId="urn:microsoft.com/office/officeart/2018/2/layout/IconLabelDescriptionList"/>
    <dgm:cxn modelId="{5C58841A-D408-431B-BFC2-D9E702E73C59}" type="presParOf" srcId="{C2AB6867-B3F7-4561-9B48-D63DF03CBA77}" destId="{A5373F82-1385-4706-B358-2124CE65788F}" srcOrd="2" destOrd="0" presId="urn:microsoft.com/office/officeart/2018/2/layout/IconLabelDescriptionList"/>
    <dgm:cxn modelId="{C9FB52C2-8141-4F79-B134-DD36C1BEAA8D}" type="presParOf" srcId="{C2AB6867-B3F7-4561-9B48-D63DF03CBA77}" destId="{5817C061-BCEC-414D-B577-A5856346DC3D}" srcOrd="3" destOrd="0" presId="urn:microsoft.com/office/officeart/2018/2/layout/IconLabelDescriptionList"/>
    <dgm:cxn modelId="{414BA081-AFED-4320-A64F-F0454378FB98}" type="presParOf" srcId="{C2AB6867-B3F7-4561-9B48-D63DF03CBA77}" destId="{CA7AEC1F-9784-424B-AB77-DEC3A5F61E29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034035-A2EA-4760-9228-34703E1CC24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accent6_2" csCatId="accent6" phldr="1"/>
      <dgm:spPr/>
      <dgm:t>
        <a:bodyPr/>
        <a:lstStyle/>
        <a:p>
          <a:endParaRPr lang="en-US"/>
        </a:p>
      </dgm:t>
    </dgm:pt>
    <dgm:pt modelId="{B56C2754-F887-48F7-BF91-B2826ADDCE78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dirty="0">
              <a:latin typeface="Avenir Next LT Pro"/>
            </a:rPr>
            <a:t>Clases</a:t>
          </a:r>
          <a:r>
            <a:rPr lang="es-ES" dirty="0"/>
            <a:t> en línea</a:t>
          </a:r>
          <a:r>
            <a:rPr lang="es-ES" dirty="0">
              <a:latin typeface="Avenir Next LT Pro"/>
            </a:rPr>
            <a:t> (Google meet).</a:t>
          </a:r>
          <a:endParaRPr lang="en-US" dirty="0"/>
        </a:p>
      </dgm:t>
    </dgm:pt>
    <dgm:pt modelId="{AA1DDD57-0A31-4207-8A99-A8AE78A7FEBE}" type="parTrans" cxnId="{1E7ABE6D-17A4-4C53-A6B6-F96E2ECD3C6C}">
      <dgm:prSet/>
      <dgm:spPr/>
      <dgm:t>
        <a:bodyPr/>
        <a:lstStyle/>
        <a:p>
          <a:endParaRPr lang="en-US"/>
        </a:p>
      </dgm:t>
    </dgm:pt>
    <dgm:pt modelId="{56DA1C01-3108-40C9-9985-99F911844BA9}" type="sibTrans" cxnId="{1E7ABE6D-17A4-4C53-A6B6-F96E2ECD3C6C}">
      <dgm:prSet/>
      <dgm:spPr/>
      <dgm:t>
        <a:bodyPr/>
        <a:lstStyle/>
        <a:p>
          <a:endParaRPr lang="en-US"/>
        </a:p>
      </dgm:t>
    </dgm:pt>
    <dgm:pt modelId="{1E301B5A-522B-40A1-8E1B-6D5EA929A581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dirty="0">
              <a:latin typeface="Avenir Next LT Pro"/>
            </a:rPr>
            <a:t>Evaluación por Actividades, tareas, </a:t>
          </a:r>
          <a:r>
            <a:rPr lang="es-ES" dirty="0" err="1">
              <a:latin typeface="Avenir Next LT Pro"/>
            </a:rPr>
            <a:t>quizes</a:t>
          </a:r>
          <a:r>
            <a:rPr lang="es-ES" dirty="0">
              <a:latin typeface="Avenir Next LT Pro"/>
            </a:rPr>
            <a:t>.</a:t>
          </a:r>
          <a:endParaRPr lang="en-US" dirty="0"/>
        </a:p>
      </dgm:t>
    </dgm:pt>
    <dgm:pt modelId="{697C8DF3-A12A-4FD6-853D-539FBF94B79B}" type="parTrans" cxnId="{915979B0-0A31-44FF-A4D5-03295168A0D5}">
      <dgm:prSet/>
      <dgm:spPr/>
      <dgm:t>
        <a:bodyPr/>
        <a:lstStyle/>
        <a:p>
          <a:endParaRPr lang="en-US"/>
        </a:p>
      </dgm:t>
    </dgm:pt>
    <dgm:pt modelId="{350F84D7-E509-4CD8-A19D-6E2D401A6BD0}" type="sibTrans" cxnId="{915979B0-0A31-44FF-A4D5-03295168A0D5}">
      <dgm:prSet/>
      <dgm:spPr/>
      <dgm:t>
        <a:bodyPr/>
        <a:lstStyle/>
        <a:p>
          <a:endParaRPr lang="en-US"/>
        </a:p>
      </dgm:t>
    </dgm:pt>
    <dgm:pt modelId="{0DD96615-08F0-4360-A5B5-015C7B400957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dirty="0"/>
            <a:t>Se realizarán prácticas durante las sesiones de </a:t>
          </a:r>
          <a:r>
            <a:rPr lang="es-ES" dirty="0">
              <a:latin typeface="Avenir Next LT Pro"/>
            </a:rPr>
            <a:t>clase</a:t>
          </a:r>
          <a:endParaRPr lang="en-US" dirty="0">
            <a:latin typeface="Avenir Next LT Pro"/>
          </a:endParaRPr>
        </a:p>
      </dgm:t>
    </dgm:pt>
    <dgm:pt modelId="{14CB3825-F1AE-4E52-B8E8-68436F5AD24D}" type="parTrans" cxnId="{4B76F493-C269-4AE0-A995-FB9EB5CE381D}">
      <dgm:prSet/>
      <dgm:spPr/>
      <dgm:t>
        <a:bodyPr/>
        <a:lstStyle/>
        <a:p>
          <a:endParaRPr lang="en-US"/>
        </a:p>
      </dgm:t>
    </dgm:pt>
    <dgm:pt modelId="{475CC0ED-4A5B-49D9-88C3-911957EE75DF}" type="sibTrans" cxnId="{4B76F493-C269-4AE0-A995-FB9EB5CE381D}">
      <dgm:prSet/>
      <dgm:spPr/>
      <dgm:t>
        <a:bodyPr/>
        <a:lstStyle/>
        <a:p>
          <a:endParaRPr lang="en-US"/>
        </a:p>
      </dgm:t>
    </dgm:pt>
    <dgm:pt modelId="{644CBE02-3D73-4C37-B213-14FB878022AE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ES" dirty="0">
              <a:latin typeface="Avenir Next LT Pro"/>
            </a:rPr>
            <a:t>Todas</a:t>
          </a:r>
          <a:r>
            <a:rPr lang="es-ES" dirty="0"/>
            <a:t> las prácticas serán realizadas en </a:t>
          </a:r>
          <a:r>
            <a:rPr lang="es-ES" dirty="0">
              <a:latin typeface="Avenir Next LT Pro"/>
            </a:rPr>
            <a:t>Python.</a:t>
          </a:r>
          <a:endParaRPr lang="es-ES" dirty="0"/>
        </a:p>
      </dgm:t>
    </dgm:pt>
    <dgm:pt modelId="{10DDE754-54D2-4E47-8C76-24D9BE58C3F1}" type="parTrans" cxnId="{ED5D596C-884C-4200-8B36-CF06DA0FBA34}">
      <dgm:prSet/>
      <dgm:spPr/>
    </dgm:pt>
    <dgm:pt modelId="{F9D6111D-B45D-4F2A-A586-6F2EBE0B143C}" type="sibTrans" cxnId="{ED5D596C-884C-4200-8B36-CF06DA0FBA34}">
      <dgm:prSet/>
      <dgm:spPr/>
      <dgm:t>
        <a:bodyPr/>
        <a:lstStyle/>
        <a:p>
          <a:endParaRPr lang="en-US"/>
        </a:p>
      </dgm:t>
    </dgm:pt>
    <dgm:pt modelId="{F48A2FA5-C205-436C-901E-48E2BABA5C31}" type="pres">
      <dgm:prSet presAssocID="{BF034035-A2EA-4760-9228-34703E1CC241}" presName="root" presStyleCnt="0">
        <dgm:presLayoutVars>
          <dgm:dir/>
          <dgm:resizeHandles val="exact"/>
        </dgm:presLayoutVars>
      </dgm:prSet>
      <dgm:spPr/>
    </dgm:pt>
    <dgm:pt modelId="{A2A43C9C-B8AA-4C8E-A128-BBED754A4FFC}" type="pres">
      <dgm:prSet presAssocID="{B56C2754-F887-48F7-BF91-B2826ADDCE78}" presName="compNode" presStyleCnt="0"/>
      <dgm:spPr/>
    </dgm:pt>
    <dgm:pt modelId="{B6E38EBF-B0E9-49DF-9431-173E7D31F9BE}" type="pres">
      <dgm:prSet presAssocID="{B56C2754-F887-48F7-BF91-B2826ADDCE78}" presName="bgRect" presStyleLbl="bgShp" presStyleIdx="0" presStyleCnt="4"/>
      <dgm:spPr/>
    </dgm:pt>
    <dgm:pt modelId="{9AA53234-1F33-4BD8-AE2A-3F9881EF1DB2}" type="pres">
      <dgm:prSet presAssocID="{B56C2754-F887-48F7-BF91-B2826ADDCE7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ula de clases"/>
        </a:ext>
      </dgm:extLst>
    </dgm:pt>
    <dgm:pt modelId="{124E215E-7001-4172-968C-8FC9214DDCEF}" type="pres">
      <dgm:prSet presAssocID="{B56C2754-F887-48F7-BF91-B2826ADDCE78}" presName="spaceRect" presStyleCnt="0"/>
      <dgm:spPr/>
    </dgm:pt>
    <dgm:pt modelId="{BBE3909F-F4BD-4DA0-8084-CF4391F7DF15}" type="pres">
      <dgm:prSet presAssocID="{B56C2754-F887-48F7-BF91-B2826ADDCE78}" presName="parTx" presStyleLbl="revTx" presStyleIdx="0" presStyleCnt="4">
        <dgm:presLayoutVars>
          <dgm:chMax val="0"/>
          <dgm:chPref val="0"/>
        </dgm:presLayoutVars>
      </dgm:prSet>
      <dgm:spPr/>
    </dgm:pt>
    <dgm:pt modelId="{1CA5E93A-F9A5-4E2A-B983-8077BC907079}" type="pres">
      <dgm:prSet presAssocID="{56DA1C01-3108-40C9-9985-99F911844BA9}" presName="sibTrans" presStyleCnt="0"/>
      <dgm:spPr/>
    </dgm:pt>
    <dgm:pt modelId="{E45A9144-82DF-4411-BBF3-3C3A6ED6AEE5}" type="pres">
      <dgm:prSet presAssocID="{1E301B5A-522B-40A1-8E1B-6D5EA929A581}" presName="compNode" presStyleCnt="0"/>
      <dgm:spPr/>
    </dgm:pt>
    <dgm:pt modelId="{791FC8AC-D442-429B-83F8-9D950F1F27B1}" type="pres">
      <dgm:prSet presAssocID="{1E301B5A-522B-40A1-8E1B-6D5EA929A581}" presName="bgRect" presStyleLbl="bgShp" presStyleIdx="1" presStyleCnt="4"/>
      <dgm:spPr/>
    </dgm:pt>
    <dgm:pt modelId="{0178C3DD-643A-4D2C-BA2D-D766A29574DC}" type="pres">
      <dgm:prSet presAssocID="{1E301B5A-522B-40A1-8E1B-6D5EA929A581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bros"/>
        </a:ext>
      </dgm:extLst>
    </dgm:pt>
    <dgm:pt modelId="{77D95EFC-8FE3-451A-BF9F-19B92B7E5CD8}" type="pres">
      <dgm:prSet presAssocID="{1E301B5A-522B-40A1-8E1B-6D5EA929A581}" presName="spaceRect" presStyleCnt="0"/>
      <dgm:spPr/>
    </dgm:pt>
    <dgm:pt modelId="{447910ED-40F4-49F7-9128-AF745957CBC1}" type="pres">
      <dgm:prSet presAssocID="{1E301B5A-522B-40A1-8E1B-6D5EA929A581}" presName="parTx" presStyleLbl="revTx" presStyleIdx="1" presStyleCnt="4">
        <dgm:presLayoutVars>
          <dgm:chMax val="0"/>
          <dgm:chPref val="0"/>
        </dgm:presLayoutVars>
      </dgm:prSet>
      <dgm:spPr/>
    </dgm:pt>
    <dgm:pt modelId="{2432AFE8-1B6F-494C-A1DD-ED39BBFDC9BD}" type="pres">
      <dgm:prSet presAssocID="{350F84D7-E509-4CD8-A19D-6E2D401A6BD0}" presName="sibTrans" presStyleCnt="0"/>
      <dgm:spPr/>
    </dgm:pt>
    <dgm:pt modelId="{6FE32DFC-4097-4008-AA5D-6FC867217550}" type="pres">
      <dgm:prSet presAssocID="{0DD96615-08F0-4360-A5B5-015C7B400957}" presName="compNode" presStyleCnt="0"/>
      <dgm:spPr/>
    </dgm:pt>
    <dgm:pt modelId="{BFA34AEC-43FC-4DCD-84DD-ABD6726E234F}" type="pres">
      <dgm:prSet presAssocID="{0DD96615-08F0-4360-A5B5-015C7B400957}" presName="bgRect" presStyleLbl="bgShp" presStyleIdx="2" presStyleCnt="4"/>
      <dgm:spPr/>
    </dgm:pt>
    <dgm:pt modelId="{4576D65A-3CC9-4755-9AEA-B0975F263A2E}" type="pres">
      <dgm:prSet presAssocID="{0DD96615-08F0-4360-A5B5-015C7B400957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estro"/>
        </a:ext>
      </dgm:extLst>
    </dgm:pt>
    <dgm:pt modelId="{1A274682-2E6B-4D9E-9F69-BF3C765CA143}" type="pres">
      <dgm:prSet presAssocID="{0DD96615-08F0-4360-A5B5-015C7B400957}" presName="spaceRect" presStyleCnt="0"/>
      <dgm:spPr/>
    </dgm:pt>
    <dgm:pt modelId="{0B1EBE54-D297-4D31-B276-F08F7D13A5B3}" type="pres">
      <dgm:prSet presAssocID="{0DD96615-08F0-4360-A5B5-015C7B400957}" presName="parTx" presStyleLbl="revTx" presStyleIdx="2" presStyleCnt="4">
        <dgm:presLayoutVars>
          <dgm:chMax val="0"/>
          <dgm:chPref val="0"/>
        </dgm:presLayoutVars>
      </dgm:prSet>
      <dgm:spPr/>
    </dgm:pt>
    <dgm:pt modelId="{D79D8F5A-85A2-4192-8719-118C80E98EF4}" type="pres">
      <dgm:prSet presAssocID="{475CC0ED-4A5B-49D9-88C3-911957EE75DF}" presName="sibTrans" presStyleCnt="0"/>
      <dgm:spPr/>
    </dgm:pt>
    <dgm:pt modelId="{F7D113C4-E505-4D99-A120-A286DF979B90}" type="pres">
      <dgm:prSet presAssocID="{644CBE02-3D73-4C37-B213-14FB878022AE}" presName="compNode" presStyleCnt="0"/>
      <dgm:spPr/>
    </dgm:pt>
    <dgm:pt modelId="{5570BF94-E47A-479B-B689-5C46A8002B7C}" type="pres">
      <dgm:prSet presAssocID="{644CBE02-3D73-4C37-B213-14FB878022AE}" presName="bgRect" presStyleLbl="bgShp" presStyleIdx="3" presStyleCnt="4"/>
      <dgm:spPr/>
    </dgm:pt>
    <dgm:pt modelId="{2A6B23D6-C0D8-4095-A98C-5A1C62538969}" type="pres">
      <dgm:prSet presAssocID="{644CBE02-3D73-4C37-B213-14FB878022A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mart Phone"/>
        </a:ext>
      </dgm:extLst>
    </dgm:pt>
    <dgm:pt modelId="{E8226543-C1C5-4B43-8B10-8C07F8173DAC}" type="pres">
      <dgm:prSet presAssocID="{644CBE02-3D73-4C37-B213-14FB878022AE}" presName="spaceRect" presStyleCnt="0"/>
      <dgm:spPr/>
    </dgm:pt>
    <dgm:pt modelId="{5E26077B-0ED4-42A4-A5E2-9C8CCF341E16}" type="pres">
      <dgm:prSet presAssocID="{644CBE02-3D73-4C37-B213-14FB878022AE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A47B6A3C-8EDE-4DE1-AD58-35408E3AFFA3}" type="presOf" srcId="{644CBE02-3D73-4C37-B213-14FB878022AE}" destId="{5E26077B-0ED4-42A4-A5E2-9C8CCF341E16}" srcOrd="0" destOrd="0" presId="urn:microsoft.com/office/officeart/2018/2/layout/IconVerticalSolidList"/>
    <dgm:cxn modelId="{ED5D596C-884C-4200-8B36-CF06DA0FBA34}" srcId="{BF034035-A2EA-4760-9228-34703E1CC241}" destId="{644CBE02-3D73-4C37-B213-14FB878022AE}" srcOrd="3" destOrd="0" parTransId="{10DDE754-54D2-4E47-8C76-24D9BE58C3F1}" sibTransId="{F9D6111D-B45D-4F2A-A586-6F2EBE0B143C}"/>
    <dgm:cxn modelId="{1E7ABE6D-17A4-4C53-A6B6-F96E2ECD3C6C}" srcId="{BF034035-A2EA-4760-9228-34703E1CC241}" destId="{B56C2754-F887-48F7-BF91-B2826ADDCE78}" srcOrd="0" destOrd="0" parTransId="{AA1DDD57-0A31-4207-8A99-A8AE78A7FEBE}" sibTransId="{56DA1C01-3108-40C9-9985-99F911844BA9}"/>
    <dgm:cxn modelId="{A554347E-F1B2-4279-B050-0BF1A0A18757}" type="presOf" srcId="{1E301B5A-522B-40A1-8E1B-6D5EA929A581}" destId="{447910ED-40F4-49F7-9128-AF745957CBC1}" srcOrd="0" destOrd="0" presId="urn:microsoft.com/office/officeart/2018/2/layout/IconVerticalSolidList"/>
    <dgm:cxn modelId="{4B76F493-C269-4AE0-A995-FB9EB5CE381D}" srcId="{BF034035-A2EA-4760-9228-34703E1CC241}" destId="{0DD96615-08F0-4360-A5B5-015C7B400957}" srcOrd="2" destOrd="0" parTransId="{14CB3825-F1AE-4E52-B8E8-68436F5AD24D}" sibTransId="{475CC0ED-4A5B-49D9-88C3-911957EE75DF}"/>
    <dgm:cxn modelId="{F8B566AB-4D1F-42FC-B50C-E0962C08D63F}" type="presOf" srcId="{B56C2754-F887-48F7-BF91-B2826ADDCE78}" destId="{BBE3909F-F4BD-4DA0-8084-CF4391F7DF15}" srcOrd="0" destOrd="0" presId="urn:microsoft.com/office/officeart/2018/2/layout/IconVerticalSolidList"/>
    <dgm:cxn modelId="{915979B0-0A31-44FF-A4D5-03295168A0D5}" srcId="{BF034035-A2EA-4760-9228-34703E1CC241}" destId="{1E301B5A-522B-40A1-8E1B-6D5EA929A581}" srcOrd="1" destOrd="0" parTransId="{697C8DF3-A12A-4FD6-853D-539FBF94B79B}" sibTransId="{350F84D7-E509-4CD8-A19D-6E2D401A6BD0}"/>
    <dgm:cxn modelId="{3895A8CA-C330-4039-908C-A8F9EA17682F}" type="presOf" srcId="{0DD96615-08F0-4360-A5B5-015C7B400957}" destId="{0B1EBE54-D297-4D31-B276-F08F7D13A5B3}" srcOrd="0" destOrd="0" presId="urn:microsoft.com/office/officeart/2018/2/layout/IconVerticalSolidList"/>
    <dgm:cxn modelId="{E97BFCDC-BA43-46BC-9369-50BEF3445109}" type="presOf" srcId="{BF034035-A2EA-4760-9228-34703E1CC241}" destId="{F48A2FA5-C205-436C-901E-48E2BABA5C31}" srcOrd="0" destOrd="0" presId="urn:microsoft.com/office/officeart/2018/2/layout/IconVerticalSolidList"/>
    <dgm:cxn modelId="{8BE9E7F9-321D-4AA4-BADB-196F4A183185}" type="presParOf" srcId="{F48A2FA5-C205-436C-901E-48E2BABA5C31}" destId="{A2A43C9C-B8AA-4C8E-A128-BBED754A4FFC}" srcOrd="0" destOrd="0" presId="urn:microsoft.com/office/officeart/2018/2/layout/IconVerticalSolidList"/>
    <dgm:cxn modelId="{4B13B9F4-EB3E-409C-9C6A-3500ED616A95}" type="presParOf" srcId="{A2A43C9C-B8AA-4C8E-A128-BBED754A4FFC}" destId="{B6E38EBF-B0E9-49DF-9431-173E7D31F9BE}" srcOrd="0" destOrd="0" presId="urn:microsoft.com/office/officeart/2018/2/layout/IconVerticalSolidList"/>
    <dgm:cxn modelId="{07B72165-9B14-4CC9-B221-89FECEFFE4E5}" type="presParOf" srcId="{A2A43C9C-B8AA-4C8E-A128-BBED754A4FFC}" destId="{9AA53234-1F33-4BD8-AE2A-3F9881EF1DB2}" srcOrd="1" destOrd="0" presId="urn:microsoft.com/office/officeart/2018/2/layout/IconVerticalSolidList"/>
    <dgm:cxn modelId="{75DAAC03-71A5-4CCF-84BB-1B6FA3C05AE7}" type="presParOf" srcId="{A2A43C9C-B8AA-4C8E-A128-BBED754A4FFC}" destId="{124E215E-7001-4172-968C-8FC9214DDCEF}" srcOrd="2" destOrd="0" presId="urn:microsoft.com/office/officeart/2018/2/layout/IconVerticalSolidList"/>
    <dgm:cxn modelId="{7850435F-AB03-4E3D-827A-70BE602C0A33}" type="presParOf" srcId="{A2A43C9C-B8AA-4C8E-A128-BBED754A4FFC}" destId="{BBE3909F-F4BD-4DA0-8084-CF4391F7DF15}" srcOrd="3" destOrd="0" presId="urn:microsoft.com/office/officeart/2018/2/layout/IconVerticalSolidList"/>
    <dgm:cxn modelId="{EA2DC1DE-0B35-4493-B382-99D4656D665C}" type="presParOf" srcId="{F48A2FA5-C205-436C-901E-48E2BABA5C31}" destId="{1CA5E93A-F9A5-4E2A-B983-8077BC907079}" srcOrd="1" destOrd="0" presId="urn:microsoft.com/office/officeart/2018/2/layout/IconVerticalSolidList"/>
    <dgm:cxn modelId="{D106A5D9-DD99-4FCE-8219-BBB6594DE836}" type="presParOf" srcId="{F48A2FA5-C205-436C-901E-48E2BABA5C31}" destId="{E45A9144-82DF-4411-BBF3-3C3A6ED6AEE5}" srcOrd="2" destOrd="0" presId="urn:microsoft.com/office/officeart/2018/2/layout/IconVerticalSolidList"/>
    <dgm:cxn modelId="{D6913AE4-06D8-45A1-AD79-2340AE6BA722}" type="presParOf" srcId="{E45A9144-82DF-4411-BBF3-3C3A6ED6AEE5}" destId="{791FC8AC-D442-429B-83F8-9D950F1F27B1}" srcOrd="0" destOrd="0" presId="urn:microsoft.com/office/officeart/2018/2/layout/IconVerticalSolidList"/>
    <dgm:cxn modelId="{A2A7B920-9269-4859-881F-0EA3AC85ABA5}" type="presParOf" srcId="{E45A9144-82DF-4411-BBF3-3C3A6ED6AEE5}" destId="{0178C3DD-643A-4D2C-BA2D-D766A29574DC}" srcOrd="1" destOrd="0" presId="urn:microsoft.com/office/officeart/2018/2/layout/IconVerticalSolidList"/>
    <dgm:cxn modelId="{E2BDB9A7-40F9-4645-A90A-B5E5A1A4CF27}" type="presParOf" srcId="{E45A9144-82DF-4411-BBF3-3C3A6ED6AEE5}" destId="{77D95EFC-8FE3-451A-BF9F-19B92B7E5CD8}" srcOrd="2" destOrd="0" presId="urn:microsoft.com/office/officeart/2018/2/layout/IconVerticalSolidList"/>
    <dgm:cxn modelId="{542165EB-BBD5-4007-9880-65038349E17A}" type="presParOf" srcId="{E45A9144-82DF-4411-BBF3-3C3A6ED6AEE5}" destId="{447910ED-40F4-49F7-9128-AF745957CBC1}" srcOrd="3" destOrd="0" presId="urn:microsoft.com/office/officeart/2018/2/layout/IconVerticalSolidList"/>
    <dgm:cxn modelId="{68AEC071-7384-4ED8-ADC6-0C80B8B3EAD2}" type="presParOf" srcId="{F48A2FA5-C205-436C-901E-48E2BABA5C31}" destId="{2432AFE8-1B6F-494C-A1DD-ED39BBFDC9BD}" srcOrd="3" destOrd="0" presId="urn:microsoft.com/office/officeart/2018/2/layout/IconVerticalSolidList"/>
    <dgm:cxn modelId="{EC5052EC-7FBE-4AD8-8EF2-862373EB65D0}" type="presParOf" srcId="{F48A2FA5-C205-436C-901E-48E2BABA5C31}" destId="{6FE32DFC-4097-4008-AA5D-6FC867217550}" srcOrd="4" destOrd="0" presId="urn:microsoft.com/office/officeart/2018/2/layout/IconVerticalSolidList"/>
    <dgm:cxn modelId="{09E9EDF2-D20D-4D2E-9CE7-ABFB53A073F4}" type="presParOf" srcId="{6FE32DFC-4097-4008-AA5D-6FC867217550}" destId="{BFA34AEC-43FC-4DCD-84DD-ABD6726E234F}" srcOrd="0" destOrd="0" presId="urn:microsoft.com/office/officeart/2018/2/layout/IconVerticalSolidList"/>
    <dgm:cxn modelId="{7C9D6DAF-EF97-4ABC-B6AC-AD6F26683C82}" type="presParOf" srcId="{6FE32DFC-4097-4008-AA5D-6FC867217550}" destId="{4576D65A-3CC9-4755-9AEA-B0975F263A2E}" srcOrd="1" destOrd="0" presId="urn:microsoft.com/office/officeart/2018/2/layout/IconVerticalSolidList"/>
    <dgm:cxn modelId="{AE7E45ED-2EED-4E59-BEA5-63E3F4E569A3}" type="presParOf" srcId="{6FE32DFC-4097-4008-AA5D-6FC867217550}" destId="{1A274682-2E6B-4D9E-9F69-BF3C765CA143}" srcOrd="2" destOrd="0" presId="urn:microsoft.com/office/officeart/2018/2/layout/IconVerticalSolidList"/>
    <dgm:cxn modelId="{A77349FC-B9C1-4F12-8AB4-B2F9D389020E}" type="presParOf" srcId="{6FE32DFC-4097-4008-AA5D-6FC867217550}" destId="{0B1EBE54-D297-4D31-B276-F08F7D13A5B3}" srcOrd="3" destOrd="0" presId="urn:microsoft.com/office/officeart/2018/2/layout/IconVerticalSolidList"/>
    <dgm:cxn modelId="{5D233163-A72D-4C65-8F09-05DA7BE215F1}" type="presParOf" srcId="{F48A2FA5-C205-436C-901E-48E2BABA5C31}" destId="{D79D8F5A-85A2-4192-8719-118C80E98EF4}" srcOrd="5" destOrd="0" presId="urn:microsoft.com/office/officeart/2018/2/layout/IconVerticalSolidList"/>
    <dgm:cxn modelId="{4D289355-1B5C-4DB0-9616-A8F6D6DB86B5}" type="presParOf" srcId="{F48A2FA5-C205-436C-901E-48E2BABA5C31}" destId="{F7D113C4-E505-4D99-A120-A286DF979B90}" srcOrd="6" destOrd="0" presId="urn:microsoft.com/office/officeart/2018/2/layout/IconVerticalSolidList"/>
    <dgm:cxn modelId="{8F088834-D411-455F-9C5C-48D1B2C8EAC3}" type="presParOf" srcId="{F7D113C4-E505-4D99-A120-A286DF979B90}" destId="{5570BF94-E47A-479B-B689-5C46A8002B7C}" srcOrd="0" destOrd="0" presId="urn:microsoft.com/office/officeart/2018/2/layout/IconVerticalSolidList"/>
    <dgm:cxn modelId="{6C9A4820-44BE-4A6E-B957-4A02D2BE9839}" type="presParOf" srcId="{F7D113C4-E505-4D99-A120-A286DF979B90}" destId="{2A6B23D6-C0D8-4095-A98C-5A1C62538969}" srcOrd="1" destOrd="0" presId="urn:microsoft.com/office/officeart/2018/2/layout/IconVerticalSolidList"/>
    <dgm:cxn modelId="{8D1BA2E1-BC2F-4EE6-A9C0-0CF35BBDBD52}" type="presParOf" srcId="{F7D113C4-E505-4D99-A120-A286DF979B90}" destId="{E8226543-C1C5-4B43-8B10-8C07F8173DAC}" srcOrd="2" destOrd="0" presId="urn:microsoft.com/office/officeart/2018/2/layout/IconVerticalSolidList"/>
    <dgm:cxn modelId="{D6E2DE3D-B1D5-4C00-BED6-A3113D39A146}" type="presParOf" srcId="{F7D113C4-E505-4D99-A120-A286DF979B90}" destId="{5E26077B-0ED4-42A4-A5E2-9C8CCF341E1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034035-A2EA-4760-9228-34703E1CC24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accent6_2" csCatId="accent6" phldr="1"/>
      <dgm:spPr/>
      <dgm:t>
        <a:bodyPr/>
        <a:lstStyle/>
        <a:p>
          <a:endParaRPr lang="en-US"/>
        </a:p>
      </dgm:t>
    </dgm:pt>
    <dgm:pt modelId="{B56C2754-F887-48F7-BF91-B2826ADDCE78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dirty="0"/>
            <a:t>Entrega de tareas en</a:t>
          </a:r>
          <a:r>
            <a:rPr lang="es-ES" dirty="0">
              <a:latin typeface="Avenir Next LT Pro"/>
            </a:rPr>
            <a:t> plataforma ALINCO</a:t>
          </a:r>
          <a:r>
            <a:rPr lang="es-ES" dirty="0"/>
            <a:t>.</a:t>
          </a:r>
          <a:endParaRPr lang="en-US" dirty="0"/>
        </a:p>
      </dgm:t>
    </dgm:pt>
    <dgm:pt modelId="{AA1DDD57-0A31-4207-8A99-A8AE78A7FEBE}" type="parTrans" cxnId="{1E7ABE6D-17A4-4C53-A6B6-F96E2ECD3C6C}">
      <dgm:prSet/>
      <dgm:spPr/>
      <dgm:t>
        <a:bodyPr/>
        <a:lstStyle/>
        <a:p>
          <a:endParaRPr lang="en-US"/>
        </a:p>
      </dgm:t>
    </dgm:pt>
    <dgm:pt modelId="{56DA1C01-3108-40C9-9985-99F911844BA9}" type="sibTrans" cxnId="{1E7ABE6D-17A4-4C53-A6B6-F96E2ECD3C6C}">
      <dgm:prSet/>
      <dgm:spPr/>
      <dgm:t>
        <a:bodyPr/>
        <a:lstStyle/>
        <a:p>
          <a:endParaRPr lang="en-US"/>
        </a:p>
      </dgm:t>
    </dgm:pt>
    <dgm:pt modelId="{0DD96615-08F0-4360-A5B5-015C7B400957}">
      <dgm:prSet/>
      <dgm:spPr/>
      <dgm:t>
        <a:bodyPr/>
        <a:lstStyle/>
        <a:p>
          <a:pPr>
            <a:lnSpc>
              <a:spcPct val="100000"/>
            </a:lnSpc>
          </a:pPr>
          <a:r>
            <a:rPr lang="es-ES" dirty="0"/>
            <a:t>No se recibirán tareas tiempo después de la fecha límite.</a:t>
          </a:r>
          <a:endParaRPr lang="en-US" dirty="0"/>
        </a:p>
      </dgm:t>
    </dgm:pt>
    <dgm:pt modelId="{14CB3825-F1AE-4E52-B8E8-68436F5AD24D}" type="parTrans" cxnId="{4B76F493-C269-4AE0-A995-FB9EB5CE381D}">
      <dgm:prSet/>
      <dgm:spPr/>
      <dgm:t>
        <a:bodyPr/>
        <a:lstStyle/>
        <a:p>
          <a:endParaRPr lang="en-US"/>
        </a:p>
      </dgm:t>
    </dgm:pt>
    <dgm:pt modelId="{475CC0ED-4A5B-49D9-88C3-911957EE75DF}" type="sibTrans" cxnId="{4B76F493-C269-4AE0-A995-FB9EB5CE381D}">
      <dgm:prSet/>
      <dgm:spPr/>
      <dgm:t>
        <a:bodyPr/>
        <a:lstStyle/>
        <a:p>
          <a:endParaRPr lang="en-US"/>
        </a:p>
      </dgm:t>
    </dgm:pt>
    <dgm:pt modelId="{644CBE02-3D73-4C37-B213-14FB878022AE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s-ES" dirty="0"/>
            <a:t>Micrófonos apagados excepto si se les avisa lo contrario.</a:t>
          </a:r>
          <a:endParaRPr lang="en-US" dirty="0"/>
        </a:p>
      </dgm:t>
    </dgm:pt>
    <dgm:pt modelId="{10DDE754-54D2-4E47-8C76-24D9BE58C3F1}" type="parTrans" cxnId="{ED5D596C-884C-4200-8B36-CF06DA0FBA34}">
      <dgm:prSet/>
      <dgm:spPr/>
    </dgm:pt>
    <dgm:pt modelId="{F9D6111D-B45D-4F2A-A586-6F2EBE0B143C}" type="sibTrans" cxnId="{ED5D596C-884C-4200-8B36-CF06DA0FBA34}">
      <dgm:prSet/>
      <dgm:spPr/>
      <dgm:t>
        <a:bodyPr/>
        <a:lstStyle/>
        <a:p>
          <a:endParaRPr lang="en-US"/>
        </a:p>
      </dgm:t>
    </dgm:pt>
    <dgm:pt modelId="{F48A2FA5-C205-436C-901E-48E2BABA5C31}" type="pres">
      <dgm:prSet presAssocID="{BF034035-A2EA-4760-9228-34703E1CC241}" presName="root" presStyleCnt="0">
        <dgm:presLayoutVars>
          <dgm:dir/>
          <dgm:resizeHandles val="exact"/>
        </dgm:presLayoutVars>
      </dgm:prSet>
      <dgm:spPr/>
    </dgm:pt>
    <dgm:pt modelId="{A2A43C9C-B8AA-4C8E-A128-BBED754A4FFC}" type="pres">
      <dgm:prSet presAssocID="{B56C2754-F887-48F7-BF91-B2826ADDCE78}" presName="compNode" presStyleCnt="0"/>
      <dgm:spPr/>
    </dgm:pt>
    <dgm:pt modelId="{B6E38EBF-B0E9-49DF-9431-173E7D31F9BE}" type="pres">
      <dgm:prSet presAssocID="{B56C2754-F887-48F7-BF91-B2826ADDCE78}" presName="bgRect" presStyleLbl="bgShp" presStyleIdx="0" presStyleCnt="3"/>
      <dgm:spPr/>
    </dgm:pt>
    <dgm:pt modelId="{9AA53234-1F33-4BD8-AE2A-3F9881EF1DB2}" type="pres">
      <dgm:prSet presAssocID="{B56C2754-F887-48F7-BF91-B2826ADDCE78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ula de clases"/>
        </a:ext>
      </dgm:extLst>
    </dgm:pt>
    <dgm:pt modelId="{124E215E-7001-4172-968C-8FC9214DDCEF}" type="pres">
      <dgm:prSet presAssocID="{B56C2754-F887-48F7-BF91-B2826ADDCE78}" presName="spaceRect" presStyleCnt="0"/>
      <dgm:spPr/>
    </dgm:pt>
    <dgm:pt modelId="{BBE3909F-F4BD-4DA0-8084-CF4391F7DF15}" type="pres">
      <dgm:prSet presAssocID="{B56C2754-F887-48F7-BF91-B2826ADDCE78}" presName="parTx" presStyleLbl="revTx" presStyleIdx="0" presStyleCnt="3">
        <dgm:presLayoutVars>
          <dgm:chMax val="0"/>
          <dgm:chPref val="0"/>
        </dgm:presLayoutVars>
      </dgm:prSet>
      <dgm:spPr/>
    </dgm:pt>
    <dgm:pt modelId="{1CA5E93A-F9A5-4E2A-B983-8077BC907079}" type="pres">
      <dgm:prSet presAssocID="{56DA1C01-3108-40C9-9985-99F911844BA9}" presName="sibTrans" presStyleCnt="0"/>
      <dgm:spPr/>
    </dgm:pt>
    <dgm:pt modelId="{6FE32DFC-4097-4008-AA5D-6FC867217550}" type="pres">
      <dgm:prSet presAssocID="{0DD96615-08F0-4360-A5B5-015C7B400957}" presName="compNode" presStyleCnt="0"/>
      <dgm:spPr/>
    </dgm:pt>
    <dgm:pt modelId="{BFA34AEC-43FC-4DCD-84DD-ABD6726E234F}" type="pres">
      <dgm:prSet presAssocID="{0DD96615-08F0-4360-A5B5-015C7B400957}" presName="bgRect" presStyleLbl="bgShp" presStyleIdx="1" presStyleCnt="3"/>
      <dgm:spPr/>
    </dgm:pt>
    <dgm:pt modelId="{4576D65A-3CC9-4755-9AEA-B0975F263A2E}" type="pres">
      <dgm:prSet presAssocID="{0DD96615-08F0-4360-A5B5-015C7B40095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estro"/>
        </a:ext>
      </dgm:extLst>
    </dgm:pt>
    <dgm:pt modelId="{1A274682-2E6B-4D9E-9F69-BF3C765CA143}" type="pres">
      <dgm:prSet presAssocID="{0DD96615-08F0-4360-A5B5-015C7B400957}" presName="spaceRect" presStyleCnt="0"/>
      <dgm:spPr/>
    </dgm:pt>
    <dgm:pt modelId="{0B1EBE54-D297-4D31-B276-F08F7D13A5B3}" type="pres">
      <dgm:prSet presAssocID="{0DD96615-08F0-4360-A5B5-015C7B400957}" presName="parTx" presStyleLbl="revTx" presStyleIdx="1" presStyleCnt="3">
        <dgm:presLayoutVars>
          <dgm:chMax val="0"/>
          <dgm:chPref val="0"/>
        </dgm:presLayoutVars>
      </dgm:prSet>
      <dgm:spPr/>
    </dgm:pt>
    <dgm:pt modelId="{D79D8F5A-85A2-4192-8719-118C80E98EF4}" type="pres">
      <dgm:prSet presAssocID="{475CC0ED-4A5B-49D9-88C3-911957EE75DF}" presName="sibTrans" presStyleCnt="0"/>
      <dgm:spPr/>
    </dgm:pt>
    <dgm:pt modelId="{F7D113C4-E505-4D99-A120-A286DF979B90}" type="pres">
      <dgm:prSet presAssocID="{644CBE02-3D73-4C37-B213-14FB878022AE}" presName="compNode" presStyleCnt="0"/>
      <dgm:spPr/>
    </dgm:pt>
    <dgm:pt modelId="{5570BF94-E47A-479B-B689-5C46A8002B7C}" type="pres">
      <dgm:prSet presAssocID="{644CBE02-3D73-4C37-B213-14FB878022AE}" presName="bgRect" presStyleLbl="bgShp" presStyleIdx="2" presStyleCnt="3"/>
      <dgm:spPr/>
    </dgm:pt>
    <dgm:pt modelId="{2A6B23D6-C0D8-4095-A98C-5A1C62538969}" type="pres">
      <dgm:prSet presAssocID="{644CBE02-3D73-4C37-B213-14FB878022AE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mart Phone"/>
        </a:ext>
      </dgm:extLst>
    </dgm:pt>
    <dgm:pt modelId="{E8226543-C1C5-4B43-8B10-8C07F8173DAC}" type="pres">
      <dgm:prSet presAssocID="{644CBE02-3D73-4C37-B213-14FB878022AE}" presName="spaceRect" presStyleCnt="0"/>
      <dgm:spPr/>
    </dgm:pt>
    <dgm:pt modelId="{5E26077B-0ED4-42A4-A5E2-9C8CCF341E16}" type="pres">
      <dgm:prSet presAssocID="{644CBE02-3D73-4C37-B213-14FB878022AE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C23E705-9317-4B54-9C11-A969E35695FB}" type="presOf" srcId="{B56C2754-F887-48F7-BF91-B2826ADDCE78}" destId="{BBE3909F-F4BD-4DA0-8084-CF4391F7DF15}" srcOrd="0" destOrd="0" presId="urn:microsoft.com/office/officeart/2018/2/layout/IconVerticalSolidList"/>
    <dgm:cxn modelId="{ED5D596C-884C-4200-8B36-CF06DA0FBA34}" srcId="{BF034035-A2EA-4760-9228-34703E1CC241}" destId="{644CBE02-3D73-4C37-B213-14FB878022AE}" srcOrd="2" destOrd="0" parTransId="{10DDE754-54D2-4E47-8C76-24D9BE58C3F1}" sibTransId="{F9D6111D-B45D-4F2A-A586-6F2EBE0B143C}"/>
    <dgm:cxn modelId="{1E7ABE6D-17A4-4C53-A6B6-F96E2ECD3C6C}" srcId="{BF034035-A2EA-4760-9228-34703E1CC241}" destId="{B56C2754-F887-48F7-BF91-B2826ADDCE78}" srcOrd="0" destOrd="0" parTransId="{AA1DDD57-0A31-4207-8A99-A8AE78A7FEBE}" sibTransId="{56DA1C01-3108-40C9-9985-99F911844BA9}"/>
    <dgm:cxn modelId="{EE114F90-EDF2-491C-B898-32B522B4A5BB}" type="presOf" srcId="{644CBE02-3D73-4C37-B213-14FB878022AE}" destId="{5E26077B-0ED4-42A4-A5E2-9C8CCF341E16}" srcOrd="0" destOrd="0" presId="urn:microsoft.com/office/officeart/2018/2/layout/IconVerticalSolidList"/>
    <dgm:cxn modelId="{4B76F493-C269-4AE0-A995-FB9EB5CE381D}" srcId="{BF034035-A2EA-4760-9228-34703E1CC241}" destId="{0DD96615-08F0-4360-A5B5-015C7B400957}" srcOrd="1" destOrd="0" parTransId="{14CB3825-F1AE-4E52-B8E8-68436F5AD24D}" sibTransId="{475CC0ED-4A5B-49D9-88C3-911957EE75DF}"/>
    <dgm:cxn modelId="{646BF7A0-BDD9-45A3-B759-6752FA4BD187}" type="presOf" srcId="{0DD96615-08F0-4360-A5B5-015C7B400957}" destId="{0B1EBE54-D297-4D31-B276-F08F7D13A5B3}" srcOrd="0" destOrd="0" presId="urn:microsoft.com/office/officeart/2018/2/layout/IconVerticalSolidList"/>
    <dgm:cxn modelId="{E97BFCDC-BA43-46BC-9369-50BEF3445109}" type="presOf" srcId="{BF034035-A2EA-4760-9228-34703E1CC241}" destId="{F48A2FA5-C205-436C-901E-48E2BABA5C31}" srcOrd="0" destOrd="0" presId="urn:microsoft.com/office/officeart/2018/2/layout/IconVerticalSolidList"/>
    <dgm:cxn modelId="{00B143FF-99D4-4DD7-9A30-DFF5A724D0BB}" type="presParOf" srcId="{F48A2FA5-C205-436C-901E-48E2BABA5C31}" destId="{A2A43C9C-B8AA-4C8E-A128-BBED754A4FFC}" srcOrd="0" destOrd="0" presId="urn:microsoft.com/office/officeart/2018/2/layout/IconVerticalSolidList"/>
    <dgm:cxn modelId="{5C19A342-5F15-47ED-B12F-74726EA31612}" type="presParOf" srcId="{A2A43C9C-B8AA-4C8E-A128-BBED754A4FFC}" destId="{B6E38EBF-B0E9-49DF-9431-173E7D31F9BE}" srcOrd="0" destOrd="0" presId="urn:microsoft.com/office/officeart/2018/2/layout/IconVerticalSolidList"/>
    <dgm:cxn modelId="{C7A1237F-811B-47C1-BB9D-3361D67A14D9}" type="presParOf" srcId="{A2A43C9C-B8AA-4C8E-A128-BBED754A4FFC}" destId="{9AA53234-1F33-4BD8-AE2A-3F9881EF1DB2}" srcOrd="1" destOrd="0" presId="urn:microsoft.com/office/officeart/2018/2/layout/IconVerticalSolidList"/>
    <dgm:cxn modelId="{123497F5-176A-479D-A51C-6470D6CE79C5}" type="presParOf" srcId="{A2A43C9C-B8AA-4C8E-A128-BBED754A4FFC}" destId="{124E215E-7001-4172-968C-8FC9214DDCEF}" srcOrd="2" destOrd="0" presId="urn:microsoft.com/office/officeart/2018/2/layout/IconVerticalSolidList"/>
    <dgm:cxn modelId="{972501DF-C7BD-45D0-8ED0-DF2424DC6A47}" type="presParOf" srcId="{A2A43C9C-B8AA-4C8E-A128-BBED754A4FFC}" destId="{BBE3909F-F4BD-4DA0-8084-CF4391F7DF15}" srcOrd="3" destOrd="0" presId="urn:microsoft.com/office/officeart/2018/2/layout/IconVerticalSolidList"/>
    <dgm:cxn modelId="{6004ED80-CF87-46C3-AC0D-9A3C09F289B2}" type="presParOf" srcId="{F48A2FA5-C205-436C-901E-48E2BABA5C31}" destId="{1CA5E93A-F9A5-4E2A-B983-8077BC907079}" srcOrd="1" destOrd="0" presId="urn:microsoft.com/office/officeart/2018/2/layout/IconVerticalSolidList"/>
    <dgm:cxn modelId="{BA94F60A-136B-4EEA-912D-92057AFE08E8}" type="presParOf" srcId="{F48A2FA5-C205-436C-901E-48E2BABA5C31}" destId="{6FE32DFC-4097-4008-AA5D-6FC867217550}" srcOrd="2" destOrd="0" presId="urn:microsoft.com/office/officeart/2018/2/layout/IconVerticalSolidList"/>
    <dgm:cxn modelId="{AA86BE4A-32FD-4BFD-9F1F-DE680E5D14E3}" type="presParOf" srcId="{6FE32DFC-4097-4008-AA5D-6FC867217550}" destId="{BFA34AEC-43FC-4DCD-84DD-ABD6726E234F}" srcOrd="0" destOrd="0" presId="urn:microsoft.com/office/officeart/2018/2/layout/IconVerticalSolidList"/>
    <dgm:cxn modelId="{A4D927FF-D951-49BE-A1DD-21A5C56A5190}" type="presParOf" srcId="{6FE32DFC-4097-4008-AA5D-6FC867217550}" destId="{4576D65A-3CC9-4755-9AEA-B0975F263A2E}" srcOrd="1" destOrd="0" presId="urn:microsoft.com/office/officeart/2018/2/layout/IconVerticalSolidList"/>
    <dgm:cxn modelId="{ABD81D5E-F0B4-44C1-86C1-058B85164DFB}" type="presParOf" srcId="{6FE32DFC-4097-4008-AA5D-6FC867217550}" destId="{1A274682-2E6B-4D9E-9F69-BF3C765CA143}" srcOrd="2" destOrd="0" presId="urn:microsoft.com/office/officeart/2018/2/layout/IconVerticalSolidList"/>
    <dgm:cxn modelId="{E45138E9-9DDD-4AB1-BEF6-5EF51EBFF0F7}" type="presParOf" srcId="{6FE32DFC-4097-4008-AA5D-6FC867217550}" destId="{0B1EBE54-D297-4D31-B276-F08F7D13A5B3}" srcOrd="3" destOrd="0" presId="urn:microsoft.com/office/officeart/2018/2/layout/IconVerticalSolidList"/>
    <dgm:cxn modelId="{EADB6D0F-81AA-49F6-BA06-77BE35A5F184}" type="presParOf" srcId="{F48A2FA5-C205-436C-901E-48E2BABA5C31}" destId="{D79D8F5A-85A2-4192-8719-118C80E98EF4}" srcOrd="3" destOrd="0" presId="urn:microsoft.com/office/officeart/2018/2/layout/IconVerticalSolidList"/>
    <dgm:cxn modelId="{00B6E86A-0C85-4C83-89DE-140A366C8273}" type="presParOf" srcId="{F48A2FA5-C205-436C-901E-48E2BABA5C31}" destId="{F7D113C4-E505-4D99-A120-A286DF979B90}" srcOrd="4" destOrd="0" presId="urn:microsoft.com/office/officeart/2018/2/layout/IconVerticalSolidList"/>
    <dgm:cxn modelId="{E2BAA2EC-2FE2-4F08-93E6-3664626B090F}" type="presParOf" srcId="{F7D113C4-E505-4D99-A120-A286DF979B90}" destId="{5570BF94-E47A-479B-B689-5C46A8002B7C}" srcOrd="0" destOrd="0" presId="urn:microsoft.com/office/officeart/2018/2/layout/IconVerticalSolidList"/>
    <dgm:cxn modelId="{FA94354E-0DBB-42A7-87F5-7F493EE61537}" type="presParOf" srcId="{F7D113C4-E505-4D99-A120-A286DF979B90}" destId="{2A6B23D6-C0D8-4095-A98C-5A1C62538969}" srcOrd="1" destOrd="0" presId="urn:microsoft.com/office/officeart/2018/2/layout/IconVerticalSolidList"/>
    <dgm:cxn modelId="{EA316751-5DE9-4BE5-B40B-ECF2261BFC73}" type="presParOf" srcId="{F7D113C4-E505-4D99-A120-A286DF979B90}" destId="{E8226543-C1C5-4B43-8B10-8C07F8173DAC}" srcOrd="2" destOrd="0" presId="urn:microsoft.com/office/officeart/2018/2/layout/IconVerticalSolidList"/>
    <dgm:cxn modelId="{BA7DEC86-FE41-4C06-80C0-217714C69536}" type="presParOf" srcId="{F7D113C4-E505-4D99-A120-A286DF979B90}" destId="{5E26077B-0ED4-42A4-A5E2-9C8CCF341E1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B58632-EAAA-4928-B093-38C902F1AECB}">
      <dsp:nvSpPr>
        <dsp:cNvPr id="0" name=""/>
        <dsp:cNvSpPr/>
      </dsp:nvSpPr>
      <dsp:spPr>
        <a:xfrm>
          <a:off x="6926" y="702289"/>
          <a:ext cx="1219640" cy="121964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D8BA30-A782-430A-ABF5-A0ADBCA3B75E}">
      <dsp:nvSpPr>
        <dsp:cNvPr id="0" name=""/>
        <dsp:cNvSpPr/>
      </dsp:nvSpPr>
      <dsp:spPr>
        <a:xfrm>
          <a:off x="6926" y="2056212"/>
          <a:ext cx="3484687" cy="522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MX" sz="1600" b="1" kern="1200" dirty="0">
              <a:solidFill>
                <a:schemeClr val="accent2">
                  <a:lumMod val="60000"/>
                  <a:lumOff val="40000"/>
                </a:schemeClr>
              </a:solidFill>
              <a:latin typeface="Avenir Next LT Pro"/>
            </a:rPr>
            <a:t>1.- </a:t>
          </a:r>
          <a:r>
            <a:rPr lang="es-MX" sz="1600" b="0" kern="1200" dirty="0">
              <a:solidFill>
                <a:schemeClr val="accent2">
                  <a:lumMod val="60000"/>
                  <a:lumOff val="40000"/>
                </a:schemeClr>
              </a:solidFill>
              <a:latin typeface="Avenir Next LT Pro"/>
            </a:rPr>
            <a:t>Introduccion al Aprendizaje Automático</a:t>
          </a:r>
          <a:endParaRPr lang="en-US" sz="1600" kern="1200" dirty="0">
            <a:solidFill>
              <a:schemeClr val="accent2">
                <a:lumMod val="60000"/>
                <a:lumOff val="40000"/>
              </a:schemeClr>
            </a:solidFill>
          </a:endParaRPr>
        </a:p>
      </dsp:txBody>
      <dsp:txXfrm>
        <a:off x="6926" y="2056212"/>
        <a:ext cx="3484687" cy="522703"/>
      </dsp:txXfrm>
    </dsp:sp>
    <dsp:sp modelId="{638300DE-91B0-4FF1-AAB8-01BBCF6D9438}">
      <dsp:nvSpPr>
        <dsp:cNvPr id="0" name=""/>
        <dsp:cNvSpPr/>
      </dsp:nvSpPr>
      <dsp:spPr>
        <a:xfrm>
          <a:off x="6926" y="2641372"/>
          <a:ext cx="3484687" cy="118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Definición de Aprendizaje</a:t>
          </a:r>
          <a:endParaRPr lang="en-U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Aplicaciones de Aprendizaje Automático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Librerías de Python (</a:t>
          </a:r>
          <a:r>
            <a:rPr lang="es-MX" sz="1200" b="0" kern="1200" dirty="0" err="1">
              <a:latin typeface="Avenir Next LT Pro"/>
            </a:rPr>
            <a:t>Numpy</a:t>
          </a:r>
          <a:r>
            <a:rPr lang="es-MX" sz="1200" b="0" kern="1200" dirty="0">
              <a:latin typeface="Avenir Next LT Pro"/>
            </a:rPr>
            <a:t>, Pandas, </a:t>
          </a:r>
          <a:r>
            <a:rPr lang="es-MX" sz="1200" b="0" kern="1200" dirty="0" err="1">
              <a:latin typeface="Avenir Next LT Pro"/>
            </a:rPr>
            <a:t>Matplotlib</a:t>
          </a:r>
          <a:r>
            <a:rPr lang="es-MX" sz="1200" b="0" kern="1200" dirty="0">
              <a:latin typeface="Avenir Next LT Pro"/>
            </a:rPr>
            <a:t>)</a:t>
          </a:r>
        </a:p>
      </dsp:txBody>
      <dsp:txXfrm>
        <a:off x="6926" y="2641372"/>
        <a:ext cx="3484687" cy="1183760"/>
      </dsp:txXfrm>
    </dsp:sp>
    <dsp:sp modelId="{94F1BFC2-EDC2-4CC3-878B-C5D4ADEE7DDB}">
      <dsp:nvSpPr>
        <dsp:cNvPr id="0" name=""/>
        <dsp:cNvSpPr/>
      </dsp:nvSpPr>
      <dsp:spPr>
        <a:xfrm>
          <a:off x="4101434" y="702289"/>
          <a:ext cx="1219640" cy="121964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7586C0-6C49-4D9D-9B6B-F9EACEC36654}">
      <dsp:nvSpPr>
        <dsp:cNvPr id="0" name=""/>
        <dsp:cNvSpPr/>
      </dsp:nvSpPr>
      <dsp:spPr>
        <a:xfrm>
          <a:off x="4101434" y="2056212"/>
          <a:ext cx="3484687" cy="522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MX" sz="1600" b="1" kern="1200" dirty="0">
              <a:solidFill>
                <a:schemeClr val="accent3">
                  <a:lumMod val="60000"/>
                  <a:lumOff val="40000"/>
                </a:schemeClr>
              </a:solidFill>
              <a:latin typeface="Avenir Next LT Pro"/>
            </a:rPr>
            <a:t>2.- </a:t>
          </a:r>
          <a:r>
            <a:rPr lang="es-MX" sz="1600" b="0" kern="1200" dirty="0">
              <a:solidFill>
                <a:schemeClr val="accent3">
                  <a:lumMod val="60000"/>
                  <a:lumOff val="40000"/>
                </a:schemeClr>
              </a:solidFill>
              <a:latin typeface="Avenir Next LT Pro"/>
            </a:rPr>
            <a:t>Matemáticas para el Aprendizaje Automático  y Regresión Lineal</a:t>
          </a:r>
          <a:endParaRPr lang="en-US" sz="1600" kern="1200" dirty="0">
            <a:solidFill>
              <a:schemeClr val="accent3">
                <a:lumMod val="60000"/>
                <a:lumOff val="40000"/>
              </a:schemeClr>
            </a:solidFill>
          </a:endParaRPr>
        </a:p>
      </dsp:txBody>
      <dsp:txXfrm>
        <a:off x="4101434" y="2056212"/>
        <a:ext cx="3484687" cy="522703"/>
      </dsp:txXfrm>
    </dsp:sp>
    <dsp:sp modelId="{AB58A571-81EB-4662-8C7D-3166B7DCE1E6}">
      <dsp:nvSpPr>
        <dsp:cNvPr id="0" name=""/>
        <dsp:cNvSpPr/>
      </dsp:nvSpPr>
      <dsp:spPr>
        <a:xfrm>
          <a:off x="4101434" y="2641372"/>
          <a:ext cx="3484687" cy="118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Espacios vectoriales</a:t>
          </a:r>
          <a:endParaRPr lang="en-US" sz="1200" b="0" kern="1200" dirty="0">
            <a:latin typeface="Avenir Next LT Pro"/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Independencia</a:t>
          </a:r>
          <a:r>
            <a:rPr lang="es-MX" sz="1200" kern="1200" dirty="0">
              <a:latin typeface="Avenir Next LT Pro"/>
            </a:rPr>
            <a:t> Lineal</a:t>
          </a:r>
          <a:endParaRPr lang="es-ES" sz="1200" kern="1200" dirty="0">
            <a:latin typeface="Avenir Next LT Pro"/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kern="1200" dirty="0">
              <a:latin typeface="Avenir Next LT Pro"/>
            </a:rPr>
            <a:t>Base</a:t>
          </a:r>
          <a:r>
            <a:rPr lang="es-MX" sz="1200" b="0" kern="1200" dirty="0">
              <a:latin typeface="Avenir Next LT Pro"/>
            </a:rPr>
            <a:t> y Rango</a:t>
          </a:r>
          <a:endParaRPr lang="es-E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Mapeos</a:t>
          </a:r>
          <a:r>
            <a:rPr lang="es-MX" sz="1200" kern="1200" dirty="0">
              <a:latin typeface="Avenir Next LT Pro"/>
            </a:rPr>
            <a:t> Lineales</a:t>
          </a:r>
          <a:endParaRPr lang="es-MX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/>
            <a:t>Clasificadores Lineales</a:t>
          </a:r>
          <a:endParaRPr lang="es-MX" sz="1200" b="0" kern="1200" dirty="0">
            <a:latin typeface="Avenir Next LT Pro"/>
          </a:endParaRPr>
        </a:p>
      </dsp:txBody>
      <dsp:txXfrm>
        <a:off x="4101434" y="2641372"/>
        <a:ext cx="3484687" cy="1183760"/>
      </dsp:txXfrm>
    </dsp:sp>
    <dsp:sp modelId="{FBA9D758-5530-4F62-A00D-2E6016EED0C3}">
      <dsp:nvSpPr>
        <dsp:cNvPr id="0" name=""/>
        <dsp:cNvSpPr/>
      </dsp:nvSpPr>
      <dsp:spPr>
        <a:xfrm>
          <a:off x="8195942" y="702289"/>
          <a:ext cx="1219640" cy="121964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373F82-1385-4706-B358-2124CE65788F}">
      <dsp:nvSpPr>
        <dsp:cNvPr id="0" name=""/>
        <dsp:cNvSpPr/>
      </dsp:nvSpPr>
      <dsp:spPr>
        <a:xfrm>
          <a:off x="8195942" y="2056212"/>
          <a:ext cx="3484687" cy="522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MX" sz="1600" b="1" kern="1200" dirty="0">
              <a:solidFill>
                <a:schemeClr val="accent4"/>
              </a:solidFill>
              <a:latin typeface="Avenir Next LT Pro"/>
            </a:rPr>
            <a:t>3.-Redes</a:t>
          </a:r>
          <a:r>
            <a:rPr lang="es-MX" sz="1600" kern="1200" dirty="0">
              <a:solidFill>
                <a:schemeClr val="accent4"/>
              </a:solidFill>
              <a:latin typeface="Avenir Next LT Pro"/>
            </a:rPr>
            <a:t> Neuronales</a:t>
          </a:r>
          <a:endParaRPr lang="es-ES" sz="1600" b="1" kern="1200" dirty="0"/>
        </a:p>
      </dsp:txBody>
      <dsp:txXfrm>
        <a:off x="8195942" y="2056212"/>
        <a:ext cx="3484687" cy="522703"/>
      </dsp:txXfrm>
    </dsp:sp>
    <dsp:sp modelId="{CA7AEC1F-9784-424B-AB77-DEC3A5F61E29}">
      <dsp:nvSpPr>
        <dsp:cNvPr id="0" name=""/>
        <dsp:cNvSpPr/>
      </dsp:nvSpPr>
      <dsp:spPr>
        <a:xfrm>
          <a:off x="8195942" y="2641372"/>
          <a:ext cx="3484687" cy="118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b="0" kern="1200" dirty="0">
              <a:latin typeface="Avenir Next LT Pro"/>
            </a:rPr>
            <a:t>Redes</a:t>
          </a:r>
          <a:r>
            <a:rPr lang="es-MX" sz="1200" kern="1200" dirty="0">
              <a:latin typeface="Avenir Next LT Pro"/>
            </a:rPr>
            <a:t> Neuronales artificiales</a:t>
          </a:r>
          <a:endParaRPr lang="en-US" sz="1200" kern="1200" dirty="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200" kern="1200" dirty="0">
              <a:latin typeface="Avenir Next LT Pro"/>
            </a:rPr>
            <a:t>Retropropagación</a:t>
          </a:r>
        </a:p>
      </dsp:txBody>
      <dsp:txXfrm>
        <a:off x="8195942" y="2641372"/>
        <a:ext cx="3484687" cy="11837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E38EBF-B0E9-49DF-9431-173E7D31F9BE}">
      <dsp:nvSpPr>
        <dsp:cNvPr id="0" name=""/>
        <dsp:cNvSpPr/>
      </dsp:nvSpPr>
      <dsp:spPr>
        <a:xfrm>
          <a:off x="0" y="1108"/>
          <a:ext cx="10506456" cy="56164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A53234-1F33-4BD8-AE2A-3F9881EF1DB2}">
      <dsp:nvSpPr>
        <dsp:cNvPr id="0" name=""/>
        <dsp:cNvSpPr/>
      </dsp:nvSpPr>
      <dsp:spPr>
        <a:xfrm>
          <a:off x="169898" y="127479"/>
          <a:ext cx="308906" cy="3089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E3909F-F4BD-4DA0-8084-CF4391F7DF15}">
      <dsp:nvSpPr>
        <dsp:cNvPr id="0" name=""/>
        <dsp:cNvSpPr/>
      </dsp:nvSpPr>
      <dsp:spPr>
        <a:xfrm>
          <a:off x="648704" y="1108"/>
          <a:ext cx="9857751" cy="561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441" tIns="59441" rIns="59441" bIns="59441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200" kern="1200" dirty="0">
              <a:latin typeface="Avenir Next LT Pro"/>
            </a:rPr>
            <a:t>Clases</a:t>
          </a:r>
          <a:r>
            <a:rPr lang="es-ES" sz="2200" kern="1200" dirty="0"/>
            <a:t> en línea</a:t>
          </a:r>
          <a:r>
            <a:rPr lang="es-ES" sz="2200" kern="1200" dirty="0">
              <a:latin typeface="Avenir Next LT Pro"/>
            </a:rPr>
            <a:t> (Google meet).</a:t>
          </a:r>
          <a:endParaRPr lang="en-US" sz="2200" kern="1200" dirty="0"/>
        </a:p>
      </dsp:txBody>
      <dsp:txXfrm>
        <a:off x="648704" y="1108"/>
        <a:ext cx="9857751" cy="561648"/>
      </dsp:txXfrm>
    </dsp:sp>
    <dsp:sp modelId="{791FC8AC-D442-429B-83F8-9D950F1F27B1}">
      <dsp:nvSpPr>
        <dsp:cNvPr id="0" name=""/>
        <dsp:cNvSpPr/>
      </dsp:nvSpPr>
      <dsp:spPr>
        <a:xfrm>
          <a:off x="0" y="703169"/>
          <a:ext cx="10506456" cy="56164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78C3DD-643A-4D2C-BA2D-D766A29574DC}">
      <dsp:nvSpPr>
        <dsp:cNvPr id="0" name=""/>
        <dsp:cNvSpPr/>
      </dsp:nvSpPr>
      <dsp:spPr>
        <a:xfrm>
          <a:off x="169898" y="829540"/>
          <a:ext cx="308906" cy="3089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7910ED-40F4-49F7-9128-AF745957CBC1}">
      <dsp:nvSpPr>
        <dsp:cNvPr id="0" name=""/>
        <dsp:cNvSpPr/>
      </dsp:nvSpPr>
      <dsp:spPr>
        <a:xfrm>
          <a:off x="648704" y="703169"/>
          <a:ext cx="9857751" cy="561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441" tIns="59441" rIns="59441" bIns="59441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200" kern="1200" dirty="0">
              <a:latin typeface="Avenir Next LT Pro"/>
            </a:rPr>
            <a:t>Evaluación por Actividades, tareas, </a:t>
          </a:r>
          <a:r>
            <a:rPr lang="es-ES" sz="2200" kern="1200" dirty="0" err="1">
              <a:latin typeface="Avenir Next LT Pro"/>
            </a:rPr>
            <a:t>quizes</a:t>
          </a:r>
          <a:r>
            <a:rPr lang="es-ES" sz="2200" kern="1200" dirty="0">
              <a:latin typeface="Avenir Next LT Pro"/>
            </a:rPr>
            <a:t>.</a:t>
          </a:r>
          <a:endParaRPr lang="en-US" sz="2200" kern="1200" dirty="0"/>
        </a:p>
      </dsp:txBody>
      <dsp:txXfrm>
        <a:off x="648704" y="703169"/>
        <a:ext cx="9857751" cy="561648"/>
      </dsp:txXfrm>
    </dsp:sp>
    <dsp:sp modelId="{BFA34AEC-43FC-4DCD-84DD-ABD6726E234F}">
      <dsp:nvSpPr>
        <dsp:cNvPr id="0" name=""/>
        <dsp:cNvSpPr/>
      </dsp:nvSpPr>
      <dsp:spPr>
        <a:xfrm>
          <a:off x="0" y="1405230"/>
          <a:ext cx="10506456" cy="56164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76D65A-3CC9-4755-9AEA-B0975F263A2E}">
      <dsp:nvSpPr>
        <dsp:cNvPr id="0" name=""/>
        <dsp:cNvSpPr/>
      </dsp:nvSpPr>
      <dsp:spPr>
        <a:xfrm>
          <a:off x="169898" y="1531601"/>
          <a:ext cx="308906" cy="30890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1EBE54-D297-4D31-B276-F08F7D13A5B3}">
      <dsp:nvSpPr>
        <dsp:cNvPr id="0" name=""/>
        <dsp:cNvSpPr/>
      </dsp:nvSpPr>
      <dsp:spPr>
        <a:xfrm>
          <a:off x="648704" y="1405230"/>
          <a:ext cx="9857751" cy="561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441" tIns="59441" rIns="59441" bIns="59441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200" kern="1200" dirty="0"/>
            <a:t>Se realizarán prácticas durante las sesiones de </a:t>
          </a:r>
          <a:r>
            <a:rPr lang="es-ES" sz="2200" kern="1200" dirty="0">
              <a:latin typeface="Avenir Next LT Pro"/>
            </a:rPr>
            <a:t>clase</a:t>
          </a:r>
          <a:endParaRPr lang="en-US" sz="2200" kern="1200" dirty="0">
            <a:latin typeface="Avenir Next LT Pro"/>
          </a:endParaRPr>
        </a:p>
      </dsp:txBody>
      <dsp:txXfrm>
        <a:off x="648704" y="1405230"/>
        <a:ext cx="9857751" cy="561648"/>
      </dsp:txXfrm>
    </dsp:sp>
    <dsp:sp modelId="{5570BF94-E47A-479B-B689-5C46A8002B7C}">
      <dsp:nvSpPr>
        <dsp:cNvPr id="0" name=""/>
        <dsp:cNvSpPr/>
      </dsp:nvSpPr>
      <dsp:spPr>
        <a:xfrm>
          <a:off x="0" y="2107291"/>
          <a:ext cx="10506456" cy="56164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6B23D6-C0D8-4095-A98C-5A1C62538969}">
      <dsp:nvSpPr>
        <dsp:cNvPr id="0" name=""/>
        <dsp:cNvSpPr/>
      </dsp:nvSpPr>
      <dsp:spPr>
        <a:xfrm>
          <a:off x="169898" y="2233662"/>
          <a:ext cx="308906" cy="30890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26077B-0ED4-42A4-A5E2-9C8CCF341E16}">
      <dsp:nvSpPr>
        <dsp:cNvPr id="0" name=""/>
        <dsp:cNvSpPr/>
      </dsp:nvSpPr>
      <dsp:spPr>
        <a:xfrm>
          <a:off x="648704" y="2107291"/>
          <a:ext cx="9857751" cy="561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441" tIns="59441" rIns="59441" bIns="59441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200" kern="1200" dirty="0">
              <a:latin typeface="Avenir Next LT Pro"/>
            </a:rPr>
            <a:t>Todas</a:t>
          </a:r>
          <a:r>
            <a:rPr lang="es-ES" sz="2200" kern="1200" dirty="0"/>
            <a:t> las prácticas serán realizadas en </a:t>
          </a:r>
          <a:r>
            <a:rPr lang="es-ES" sz="2200" kern="1200" dirty="0">
              <a:latin typeface="Avenir Next LT Pro"/>
            </a:rPr>
            <a:t>Python.</a:t>
          </a:r>
          <a:endParaRPr lang="es-ES" sz="2200" kern="1200" dirty="0"/>
        </a:p>
      </dsp:txBody>
      <dsp:txXfrm>
        <a:off x="648704" y="2107291"/>
        <a:ext cx="9857751" cy="5616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E38EBF-B0E9-49DF-9431-173E7D31F9BE}">
      <dsp:nvSpPr>
        <dsp:cNvPr id="0" name=""/>
        <dsp:cNvSpPr/>
      </dsp:nvSpPr>
      <dsp:spPr>
        <a:xfrm>
          <a:off x="0" y="325"/>
          <a:ext cx="10506456" cy="76268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A53234-1F33-4BD8-AE2A-3F9881EF1DB2}">
      <dsp:nvSpPr>
        <dsp:cNvPr id="0" name=""/>
        <dsp:cNvSpPr/>
      </dsp:nvSpPr>
      <dsp:spPr>
        <a:xfrm>
          <a:off x="230712" y="171929"/>
          <a:ext cx="419476" cy="41947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E3909F-F4BD-4DA0-8084-CF4391F7DF15}">
      <dsp:nvSpPr>
        <dsp:cNvPr id="0" name=""/>
        <dsp:cNvSpPr/>
      </dsp:nvSpPr>
      <dsp:spPr>
        <a:xfrm>
          <a:off x="880900" y="325"/>
          <a:ext cx="9625555" cy="762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717" tIns="80717" rIns="80717" bIns="80717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500" kern="1200" dirty="0"/>
            <a:t>Entrega de tareas en</a:t>
          </a:r>
          <a:r>
            <a:rPr lang="es-ES" sz="2500" kern="1200" dirty="0">
              <a:latin typeface="Avenir Next LT Pro"/>
            </a:rPr>
            <a:t> plataforma ALINCO</a:t>
          </a:r>
          <a:r>
            <a:rPr lang="es-ES" sz="2500" kern="1200" dirty="0"/>
            <a:t>.</a:t>
          </a:r>
          <a:endParaRPr lang="en-US" sz="2500" kern="1200" dirty="0"/>
        </a:p>
      </dsp:txBody>
      <dsp:txXfrm>
        <a:off x="880900" y="325"/>
        <a:ext cx="9625555" cy="762684"/>
      </dsp:txXfrm>
    </dsp:sp>
    <dsp:sp modelId="{BFA34AEC-43FC-4DCD-84DD-ABD6726E234F}">
      <dsp:nvSpPr>
        <dsp:cNvPr id="0" name=""/>
        <dsp:cNvSpPr/>
      </dsp:nvSpPr>
      <dsp:spPr>
        <a:xfrm>
          <a:off x="0" y="953681"/>
          <a:ext cx="10506456" cy="76268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76D65A-3CC9-4755-9AEA-B0975F263A2E}">
      <dsp:nvSpPr>
        <dsp:cNvPr id="0" name=""/>
        <dsp:cNvSpPr/>
      </dsp:nvSpPr>
      <dsp:spPr>
        <a:xfrm>
          <a:off x="230712" y="1125285"/>
          <a:ext cx="419476" cy="41947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1EBE54-D297-4D31-B276-F08F7D13A5B3}">
      <dsp:nvSpPr>
        <dsp:cNvPr id="0" name=""/>
        <dsp:cNvSpPr/>
      </dsp:nvSpPr>
      <dsp:spPr>
        <a:xfrm>
          <a:off x="880900" y="953681"/>
          <a:ext cx="9625555" cy="762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717" tIns="80717" rIns="80717" bIns="80717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500" kern="1200" dirty="0"/>
            <a:t>No se recibirán tareas tiempo después de la fecha límite.</a:t>
          </a:r>
          <a:endParaRPr lang="en-US" sz="2500" kern="1200" dirty="0"/>
        </a:p>
      </dsp:txBody>
      <dsp:txXfrm>
        <a:off x="880900" y="953681"/>
        <a:ext cx="9625555" cy="762684"/>
      </dsp:txXfrm>
    </dsp:sp>
    <dsp:sp modelId="{5570BF94-E47A-479B-B689-5C46A8002B7C}">
      <dsp:nvSpPr>
        <dsp:cNvPr id="0" name=""/>
        <dsp:cNvSpPr/>
      </dsp:nvSpPr>
      <dsp:spPr>
        <a:xfrm>
          <a:off x="0" y="1907037"/>
          <a:ext cx="10506456" cy="76268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6B23D6-C0D8-4095-A98C-5A1C62538969}">
      <dsp:nvSpPr>
        <dsp:cNvPr id="0" name=""/>
        <dsp:cNvSpPr/>
      </dsp:nvSpPr>
      <dsp:spPr>
        <a:xfrm>
          <a:off x="230712" y="2078641"/>
          <a:ext cx="419476" cy="41947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26077B-0ED4-42A4-A5E2-9C8CCF341E16}">
      <dsp:nvSpPr>
        <dsp:cNvPr id="0" name=""/>
        <dsp:cNvSpPr/>
      </dsp:nvSpPr>
      <dsp:spPr>
        <a:xfrm>
          <a:off x="880900" y="1907037"/>
          <a:ext cx="9625555" cy="762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717" tIns="80717" rIns="80717" bIns="80717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500" kern="1200" dirty="0"/>
            <a:t>Micrófonos apagados excepto si se les avisa lo contrario.</a:t>
          </a:r>
          <a:endParaRPr lang="en-US" sz="2500" kern="1200" dirty="0"/>
        </a:p>
      </dsp:txBody>
      <dsp:txXfrm>
        <a:off x="880900" y="1907037"/>
        <a:ext cx="9625555" cy="7626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0-10-09T20:28:50.079"/>
    </inkml:context>
    <inkml:brush xml:id="br0">
      <inkml:brushProperty name="width" value="0.1" units="cm"/>
      <inkml:brushProperty name="height" value="0.1" units="cm"/>
      <inkml:brushProperty name="color" value="#5B2D90"/>
    </inkml:brush>
  </inkml:definitions>
  <inkml:trace contextRef="#ctx0" brushRef="#br0">476 7673 16383 0 0,'0'0'-16383'0'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B8136-4330-4480-80D9-0F6FD97061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72" y="1124712"/>
            <a:ext cx="11036808" cy="3172968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6E5739-DD96-45FB-B609-3E3447A52F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72" y="4727448"/>
            <a:ext cx="11036808" cy="1481328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FF558-51F9-42A2-9944-DBE23DA8B2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6072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8C0E86-A7F7-4BDC-A637-254E5252D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D10ADE-E9DA-4E57-BF57-1CCB65219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9680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06CE56-3881-4ADA-8CEF-D18B02C242A3}"/>
              </a:ext>
            </a:extLst>
          </p:cNvPr>
          <p:cNvSpPr/>
          <p:nvPr/>
        </p:nvSpPr>
        <p:spPr>
          <a:xfrm rot="5400000">
            <a:off x="857544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F3C543-62EC-4433-9C93-A2CD8764E9B4}"/>
              </a:ext>
            </a:extLst>
          </p:cNvPr>
          <p:cNvSpPr/>
          <p:nvPr/>
        </p:nvSpPr>
        <p:spPr>
          <a:xfrm flipV="1">
            <a:off x="578652" y="4501201"/>
            <a:ext cx="11034696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06269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32C18-E430-4EC7-BD7C-99D86D01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C5012F-7119-4D94-9717-3862E1C938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D9A4A-D287-4207-9037-70DB007A1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CFCAC-80DB-43BB-B3F1-AC22BACEE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679730-3487-4D94-A0DC-C21684963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13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43C89D-929E-4CD1-BCCC-72A14C033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D450EA-A577-4B76-A12F-650BEB20FD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2603B-9ACE-4FA9-805B-9B91EB63D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E18AC-D6A9-4A61-885D-68E2B684A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197AE4-AA47-4E14-8FFE-171FAE47F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822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2D6FBB9D-1CAA-4D05-AB33-BABDFE17B843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27B71-B4B6-4823-80A1-68C40B475118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A6DB05-9FB5-4B07-8675-74C23D4FD89D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58CF-0758-490A-A084-C46443B9A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71183-B3CE-4F45-92FB-98290CA0E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78024"/>
            <a:ext cx="10168128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DED67-27EC-4D43-A21C-093C1DB0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47CE3-4890-4BC1-94DB-5D49D02C9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3C5AD3-D79A-4D46-B25B-822FE0252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411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5AEDC5C-2E87-49C6-AB07-A95E5F39ED8E}"/>
              </a:ext>
            </a:extLst>
          </p:cNvPr>
          <p:cNvSpPr/>
          <p:nvPr/>
        </p:nvSpPr>
        <p:spPr>
          <a:xfrm>
            <a:off x="558210" y="4981421"/>
            <a:ext cx="11134956" cy="82296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7D88DE-E462-4C8A-BF99-609390DFB781}"/>
              </a:ext>
            </a:extLst>
          </p:cNvPr>
          <p:cNvSpPr/>
          <p:nvPr/>
        </p:nvSpPr>
        <p:spPr>
          <a:xfrm>
            <a:off x="498834" y="5118581"/>
            <a:ext cx="146304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E44900-E8BF-4B12-8BCB-41076E2B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640080"/>
            <a:ext cx="10890504" cy="4114800"/>
          </a:xfrm>
        </p:spPr>
        <p:txBody>
          <a:bodyPr anchor="b">
            <a:normAutofit/>
          </a:bodyPr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741F9-B00F-4463-A257-6B66DABD9B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248" y="5102352"/>
            <a:ext cx="10607040" cy="585216"/>
          </a:xfr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BFA7D-4401-4285-802B-1579165F0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09C5-AA19-4195-8376-9002D5DF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3F32-46E0-47C8-8565-5969A475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81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076262E-36A0-40C6-ADE6-90CD9FB9B9EA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2677A9B-4D1D-4D80-912C-24570140A650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DC8C98-510F-48C9-82B2-9E4F760A68DF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A078AE-0BC3-48F9-87EC-2DB0CCE7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2A20DF-0829-4336-B59F-FF9D7AA9D8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5568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35D01C-CF67-4DF6-B96C-FFC9D5BF84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5936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BBD797-6031-4F82-8726-EAB757027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B3F71C-B897-4909-A75E-8716AD49C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78BC14-5BB1-405F-A6F3-C07230F08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3169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B671BDE-E45C-41A1-9B98-4A607D703855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99500CE-917A-4D03-A7DF-71D8EBBC1537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D0D377-28B0-417D-886B-9483AF064975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8F91F8-0767-40B5-A3AA-72931FC19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AE0554-8BEE-4BF6-9519-51B8475D3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5568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4A358D-C930-48E0-B372-06A826B74C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5568" y="3203688"/>
            <a:ext cx="4937760" cy="29685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B6615E-4966-4150-83B6-C47591B363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45936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409F6B-C17B-4B4F-9F35-5068BDC4E2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45936" y="3203687"/>
            <a:ext cx="4937760" cy="29685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BC356D-052B-4A9B-8B2F-6665FD325A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C5E5FA-26A9-467C-93E3-8476142D1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79E50C-1E40-4B48-871B-E392428D2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009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8C0689C4-0DB3-408B-A956-40326B4AE4C4}"/>
              </a:ext>
            </a:extLst>
          </p:cNvPr>
          <p:cNvSpPr/>
          <p:nvPr/>
        </p:nvSpPr>
        <p:spPr>
          <a:xfrm>
            <a:off x="665853" y="1533525"/>
            <a:ext cx="10917063" cy="379095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2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E1D10E-1C30-41BF-8C3B-C460C9B5597B}"/>
              </a:ext>
            </a:extLst>
          </p:cNvPr>
          <p:cNvSpPr/>
          <p:nvPr/>
        </p:nvSpPr>
        <p:spPr>
          <a:xfrm>
            <a:off x="609084" y="2971798"/>
            <a:ext cx="128016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454F2-0EE5-4888-AF4C-82F825E62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8992" y="1938528"/>
            <a:ext cx="10177272" cy="2990088"/>
          </a:xfrm>
        </p:spPr>
        <p:txBody>
          <a:bodyPr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91241-A315-4643-91E5-CF2C25CC9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706D86-5479-487D-94C8-76093D84F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739411-CED6-43D4-868D-A65C4161A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884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C447E0-1D4D-4EF2-B81B-4B2400EE3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984CA0-2A78-4600-9F3D-19B09E79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440955-B18E-49D3-AE7B-B331200E3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51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FA417FE-CD1A-486F-A4AC-E4000A2FB18E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18F0F5-812B-472C-9408-B80F2553F5E0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F7751B-CD8F-4F5B-A903-1DCE5D1E8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55C8A-A0BB-441D-976F-EB56D4382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192" y="1709928"/>
            <a:ext cx="6729984" cy="4096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DE6A51-A2E5-4BFA-B571-9FDFE1BBFB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29000"/>
            <a:ext cx="3099816" cy="20665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92778A-DD4C-4651-9C53-8B0C44CD88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6C7F66-2DFA-4146-BE1A-CE2890FE4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85D185-B1B6-4D62-81BE-BE82C80AC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634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68B77B5-211C-456E-B79F-306CC3619347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63C338-194D-4F23-ABEC-60A7EA96F302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04DCC-0E3E-4F05-9FAC-9FA6CA4B2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A29649-B19F-499E-8E9A-3577EAC8F0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65192" y="1161288"/>
            <a:ext cx="6729984" cy="464515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9EF2E-A8CD-41A1-B11A-0D8842797A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38144"/>
            <a:ext cx="3099816" cy="20574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4257B5-0DE0-401F-9171-E8687A97DB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8CD9AD-D667-4FD4-AA34-428AA0BCD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770FB6-F273-4BA6-8B97-9835AC537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353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B325BDE-35A4-4AAD-960B-C1415864A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59C78-0CC4-4552-93DD-49B4194D0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744A3C-9C54-46A6-B3EF-5B3636242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AC24A9-CCB6-4F8D-B8DB-C2F3692CFA5A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D5A696-7B4B-4181-A961-7D66556D5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38CB5-8F4A-401D-A3A9-B27DC15B7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5E2330-4E7E-4BF3-A539-EB309DAE3B9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3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962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gdesirena" TargetMode="External"/><Relationship Id="rId7" Type="http://schemas.openxmlformats.org/officeDocument/2006/relationships/image" Target="../media/image7.png"/><Relationship Id="rId2" Type="http://schemas.openxmlformats.org/officeDocument/2006/relationships/hyperlink" Target="mailto:gdesirena@gmail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76A9C2-189C-4D80-A75A-E1BD9CB104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9" t="9091" r="23918" b="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12932" y="1764487"/>
            <a:ext cx="4506579" cy="3204134"/>
          </a:xfrm>
        </p:spPr>
        <p:txBody>
          <a:bodyPr anchor="b">
            <a:normAutofit/>
          </a:bodyPr>
          <a:lstStyle/>
          <a:p>
            <a:pPr algn="ctr"/>
            <a:r>
              <a:rPr lang="es-ES" sz="2400" b="1" dirty="0">
                <a:ea typeface="+mj-lt"/>
                <a:cs typeface="+mj-lt"/>
              </a:rPr>
              <a:t>Introducción al Aprendizaje Automático</a:t>
            </a:r>
            <a:br>
              <a:rPr lang="es-ES" sz="4800" dirty="0"/>
            </a:br>
            <a:r>
              <a:rPr lang="es-ES" sz="4800" dirty="0"/>
              <a:t>IAA</a:t>
            </a:r>
            <a:br>
              <a:rPr lang="es-ES" sz="2400" dirty="0"/>
            </a:br>
            <a:endParaRPr lang="es-ES" sz="240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87053" y="4885932"/>
            <a:ext cx="4506113" cy="97768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z="2000" dirty="0"/>
              <a:t>Profesor: </a:t>
            </a:r>
            <a:r>
              <a:rPr lang="es-ES" sz="2000" dirty="0" err="1"/>
              <a:t>Gaddiel</a:t>
            </a:r>
            <a:r>
              <a:rPr lang="es-ES" sz="2000" dirty="0"/>
              <a:t> </a:t>
            </a:r>
            <a:r>
              <a:rPr lang="es-ES" sz="2000" dirty="0" err="1"/>
              <a:t>Desirena</a:t>
            </a:r>
            <a:r>
              <a:rPr lang="es-ES" sz="2000" dirty="0"/>
              <a:t> López</a:t>
            </a:r>
          </a:p>
          <a:p>
            <a:pPr algn="ctr"/>
            <a:r>
              <a:rPr lang="es-ES" sz="2000" dirty="0">
                <a:solidFill>
                  <a:srgbClr val="000ABF"/>
                </a:solidFill>
              </a:rPr>
              <a:t>gdesirena@gmail.co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solidFill>
              <a:schemeClr val="tx2">
                <a:lumMod val="25000"/>
                <a:lumOff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Entrada de lápiz 6">
                <a:extLst>
                  <a:ext uri="{FF2B5EF4-FFF2-40B4-BE49-F238E27FC236}">
                    <a16:creationId xmlns:a16="http://schemas.microsoft.com/office/drawing/2014/main" id="{8E14C9C6-D686-4C5B-A5B8-E23CA3B83EC6}"/>
                  </a:ext>
                </a:extLst>
              </p14:cNvPr>
              <p14:cNvContentPartPr/>
              <p14:nvPr/>
            </p14:nvContentPartPr>
            <p14:xfrm>
              <a:off x="-114299" y="2647949"/>
              <a:ext cx="9525" cy="9525"/>
            </p14:xfrm>
          </p:contentPart>
        </mc:Choice>
        <mc:Fallback xmlns="">
          <p:pic>
            <p:nvPicPr>
              <p:cNvPr id="7" name="Entrada de lápiz 6">
                <a:extLst>
                  <a:ext uri="{FF2B5EF4-FFF2-40B4-BE49-F238E27FC236}">
                    <a16:creationId xmlns:a16="http://schemas.microsoft.com/office/drawing/2014/main" id="{8E14C9C6-D686-4C5B-A5B8-E23CA3B83EC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590549" y="2181224"/>
                <a:ext cx="952500" cy="952500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Imagen 8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00FA9917-2622-481E-B310-4A890862A5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7075" y="1503440"/>
            <a:ext cx="1769559" cy="176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273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0" name="Rectangle 52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Imagen 48" descr="Imagen que contiene monitor, jugador, sostener, mano&#10;&#10;Descripción generada automáticamente">
            <a:extLst>
              <a:ext uri="{FF2B5EF4-FFF2-40B4-BE49-F238E27FC236}">
                <a16:creationId xmlns:a16="http://schemas.microsoft.com/office/drawing/2014/main" id="{DD4380AA-809F-4595-BDDC-08A0809A7E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7159" b="8254"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7FA2322-6794-4D5F-8F20-A1AE89B42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894207"/>
            <a:ext cx="10506456" cy="638175"/>
          </a:xfrm>
        </p:spPr>
        <p:txBody>
          <a:bodyPr anchor="b">
            <a:normAutofit fontScale="90000"/>
          </a:bodyPr>
          <a:lstStyle/>
          <a:p>
            <a:r>
              <a:rPr lang="es-ES" sz="5000" dirty="0"/>
              <a:t>Programa del Curso</a:t>
            </a:r>
          </a:p>
        </p:txBody>
      </p:sp>
      <p:sp>
        <p:nvSpPr>
          <p:cNvPr id="51" name="Rectangle 5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Marcador de contenido 2">
            <a:extLst>
              <a:ext uri="{FF2B5EF4-FFF2-40B4-BE49-F238E27FC236}">
                <a16:creationId xmlns:a16="http://schemas.microsoft.com/office/drawing/2014/main" id="{904BC78C-E859-494C-BA62-D5DD5D5543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1153604"/>
              </p:ext>
            </p:extLst>
          </p:nvPr>
        </p:nvGraphicFramePr>
        <p:xfrm>
          <a:off x="612648" y="2511552"/>
          <a:ext cx="11687556" cy="4527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38" name="CuadroTexto 437">
            <a:extLst>
              <a:ext uri="{FF2B5EF4-FFF2-40B4-BE49-F238E27FC236}">
                <a16:creationId xmlns:a16="http://schemas.microsoft.com/office/drawing/2014/main" id="{457759B5-478B-4F6C-9A76-D69E9007C042}"/>
              </a:ext>
            </a:extLst>
          </p:cNvPr>
          <p:cNvSpPr txBox="1"/>
          <p:nvPr/>
        </p:nvSpPr>
        <p:spPr>
          <a:xfrm>
            <a:off x="733425" y="2514600"/>
            <a:ext cx="629602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 dirty="0">
                <a:solidFill>
                  <a:schemeClr val="tx2"/>
                </a:solidFill>
              </a:rPr>
              <a:t>4 Módulos</a:t>
            </a:r>
          </a:p>
        </p:txBody>
      </p:sp>
    </p:spTree>
    <p:extLst>
      <p:ext uri="{BB962C8B-B14F-4D97-AF65-F5344CB8AC3E}">
        <p14:creationId xmlns:p14="http://schemas.microsoft.com/office/powerpoint/2010/main" val="2458575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0" name="Freeform: Shape 29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802F2CF-098B-424C-9C5A-AAB1F0005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anchor="ctr">
            <a:normAutofit/>
          </a:bodyPr>
          <a:lstStyle/>
          <a:p>
            <a:r>
              <a:rPr lang="es-ES" sz="2800" dirty="0"/>
              <a:t>Evaluación del Aprendizaj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Imagen 23">
            <a:extLst>
              <a:ext uri="{FF2B5EF4-FFF2-40B4-BE49-F238E27FC236}">
                <a16:creationId xmlns:a16="http://schemas.microsoft.com/office/drawing/2014/main" id="{B7EEFB4B-52C4-4182-8085-CF15888C0D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2519" y="2525529"/>
            <a:ext cx="3438906" cy="1934958"/>
          </a:xfr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52E2372-377B-4F9A-8691-0E866D6EE117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s-ES"/>
          </a:p>
        </p:txBody>
      </p:sp>
      <p:graphicFrame>
        <p:nvGraphicFramePr>
          <p:cNvPr id="21" name="Marcador de contenido 4">
            <a:extLst>
              <a:ext uri="{FF2B5EF4-FFF2-40B4-BE49-F238E27FC236}">
                <a16:creationId xmlns:a16="http://schemas.microsoft.com/office/drawing/2014/main" id="{AE676190-3687-444C-B399-8EDEE202CB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2874940"/>
              </p:ext>
            </p:extLst>
          </p:nvPr>
        </p:nvGraphicFramePr>
        <p:xfrm>
          <a:off x="4901184" y="1455918"/>
          <a:ext cx="6922008" cy="4046752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3504138">
                  <a:extLst>
                    <a:ext uri="{9D8B030D-6E8A-4147-A177-3AD203B41FA5}">
                      <a16:colId xmlns:a16="http://schemas.microsoft.com/office/drawing/2014/main" val="3922164725"/>
                    </a:ext>
                  </a:extLst>
                </a:gridCol>
                <a:gridCol w="3417870">
                  <a:extLst>
                    <a:ext uri="{9D8B030D-6E8A-4147-A177-3AD203B41FA5}">
                      <a16:colId xmlns:a16="http://schemas.microsoft.com/office/drawing/2014/main" val="1866237763"/>
                    </a:ext>
                  </a:extLst>
                </a:gridCol>
              </a:tblGrid>
              <a:tr h="848392">
                <a:tc>
                  <a:txBody>
                    <a:bodyPr/>
                    <a:lstStyle/>
                    <a:p>
                      <a:pPr algn="ctr"/>
                      <a:r>
                        <a:rPr lang="es-ES" sz="2600" b="0" cap="none" spc="60" dirty="0">
                          <a:solidFill>
                            <a:schemeClr val="bg1"/>
                          </a:solidFill>
                          <a:effectLst/>
                        </a:rPr>
                        <a:t>Productos</a:t>
                      </a:r>
                    </a:p>
                  </a:txBody>
                  <a:tcPr marL="253006" marR="253006" marT="146406" marB="253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600" b="0" cap="none" spc="60" dirty="0">
                          <a:solidFill>
                            <a:schemeClr val="bg1"/>
                          </a:solidFill>
                          <a:effectLst/>
                        </a:rPr>
                        <a:t>% de Calificación</a:t>
                      </a:r>
                    </a:p>
                  </a:txBody>
                  <a:tcPr marL="253006" marR="253006" marT="146406" marB="253006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59848"/>
                  </a:ext>
                </a:extLst>
              </a:tr>
              <a:tr h="799590">
                <a:tc>
                  <a:txBody>
                    <a:bodyPr/>
                    <a:lstStyle/>
                    <a:p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Evaluación Final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40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33681"/>
                  </a:ext>
                </a:extLst>
              </a:tr>
              <a:tr h="7995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Actividades 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30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0104032"/>
                  </a:ext>
                </a:extLst>
              </a:tr>
              <a:tr h="799590">
                <a:tc>
                  <a:txBody>
                    <a:bodyPr/>
                    <a:lstStyle/>
                    <a:p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Tareas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30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1941972"/>
                  </a:ext>
                </a:extLst>
              </a:tr>
              <a:tr h="799590">
                <a:tc>
                  <a:txBody>
                    <a:bodyPr/>
                    <a:lstStyle/>
                    <a:p>
                      <a:pPr algn="r"/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TOTAL: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200" cap="none" spc="0" dirty="0">
                          <a:solidFill>
                            <a:schemeClr val="tx1"/>
                          </a:solidFill>
                          <a:effectLst/>
                        </a:rPr>
                        <a:t>100%</a:t>
                      </a:r>
                    </a:p>
                  </a:txBody>
                  <a:tcPr marL="277584" marR="277584" marT="146406" marB="25300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1877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9874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18" name="Rectangle 68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16" name="Imagen 1216">
            <a:extLst>
              <a:ext uri="{FF2B5EF4-FFF2-40B4-BE49-F238E27FC236}">
                <a16:creationId xmlns:a16="http://schemas.microsoft.com/office/drawing/2014/main" id="{0627897A-01D0-46F2-9279-B4F5B0BF15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3880423-ABBF-48FF-A2D5-BA6132DC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941832"/>
            <a:ext cx="10506456" cy="2057400"/>
          </a:xfrm>
        </p:spPr>
        <p:txBody>
          <a:bodyPr anchor="b">
            <a:normAutofit/>
          </a:bodyPr>
          <a:lstStyle/>
          <a:p>
            <a:r>
              <a:rPr lang="es-ES" sz="5000"/>
              <a:t>Políticas y Lineamientos del curso</a:t>
            </a:r>
          </a:p>
        </p:txBody>
      </p:sp>
      <p:sp>
        <p:nvSpPr>
          <p:cNvPr id="1219" name="Rectangle 70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0" name="Rectangle 72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Marcador de contenido 2">
            <a:extLst>
              <a:ext uri="{FF2B5EF4-FFF2-40B4-BE49-F238E27FC236}">
                <a16:creationId xmlns:a16="http://schemas.microsoft.com/office/drawing/2014/main" id="{2D8F4B1A-FF15-4016-8639-A9B0B6E127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5528132"/>
              </p:ext>
            </p:extLst>
          </p:nvPr>
        </p:nvGraphicFramePr>
        <p:xfrm>
          <a:off x="841248" y="3502152"/>
          <a:ext cx="10506456" cy="2670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42247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18" name="Rectangle 68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16" name="Imagen 1216">
            <a:extLst>
              <a:ext uri="{FF2B5EF4-FFF2-40B4-BE49-F238E27FC236}">
                <a16:creationId xmlns:a16="http://schemas.microsoft.com/office/drawing/2014/main" id="{0627897A-01D0-46F2-9279-B4F5B0BF150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3880423-ABBF-48FF-A2D5-BA6132DC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941832"/>
            <a:ext cx="10506456" cy="2057400"/>
          </a:xfrm>
        </p:spPr>
        <p:txBody>
          <a:bodyPr anchor="b">
            <a:normAutofit/>
          </a:bodyPr>
          <a:lstStyle/>
          <a:p>
            <a:r>
              <a:rPr lang="es-ES" sz="5000"/>
              <a:t>Políticas y Lineamientos del curso</a:t>
            </a:r>
          </a:p>
        </p:txBody>
      </p:sp>
      <p:sp>
        <p:nvSpPr>
          <p:cNvPr id="1219" name="Rectangle 70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0" name="Rectangle 72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Marcador de contenido 2">
            <a:extLst>
              <a:ext uri="{FF2B5EF4-FFF2-40B4-BE49-F238E27FC236}">
                <a16:creationId xmlns:a16="http://schemas.microsoft.com/office/drawing/2014/main" id="{2D8F4B1A-FF15-4016-8639-A9B0B6E1271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41248" y="3502152"/>
          <a:ext cx="10506456" cy="2670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66044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BB2B1F0-0DD6-4744-9A46-7A344FB48E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17A06D2-EACE-4770-9D6E-4BCBCEBB4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26720"/>
            <a:ext cx="10506456" cy="1919141"/>
          </a:xfrm>
        </p:spPr>
        <p:txBody>
          <a:bodyPr anchor="b">
            <a:normAutofit/>
          </a:bodyPr>
          <a:lstStyle/>
          <a:p>
            <a:r>
              <a:rPr lang="es-ES" sz="6000" dirty="0">
                <a:ea typeface="+mj-lt"/>
                <a:cs typeface="+mj-lt"/>
              </a:rPr>
              <a:t>Referencias Bibliográficas</a:t>
            </a:r>
            <a:endParaRPr lang="es-ES" sz="6000" dirty="0"/>
          </a:p>
          <a:p>
            <a:endParaRPr lang="es-ES" sz="60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0B5DEA-ADF6-4BA5-9307-147F0A468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8680" y="2898648"/>
            <a:ext cx="10506456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CDBF4-02B6-4BB4-B65B-B8107AD6A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841248" y="2783982"/>
            <a:ext cx="1873457" cy="1371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FB6E39E-2299-481F-ADA6-BB1AF81AB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248" y="3337269"/>
            <a:ext cx="10509504" cy="2905686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</a:pPr>
            <a:endParaRPr lang="en-US" sz="1700" dirty="0"/>
          </a:p>
          <a:p>
            <a:pPr>
              <a:lnSpc>
                <a:spcPct val="100000"/>
              </a:lnSpc>
            </a:pPr>
            <a:endParaRPr lang="es-ES" sz="170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D569D34-17C0-44E7-9110-34F677AB5BBC}"/>
              </a:ext>
            </a:extLst>
          </p:cNvPr>
          <p:cNvSpPr txBox="1"/>
          <p:nvPr/>
        </p:nvSpPr>
        <p:spPr>
          <a:xfrm>
            <a:off x="844378" y="2914650"/>
            <a:ext cx="10637176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buFont typeface="Arial"/>
              <a:buChar char="•"/>
            </a:pPr>
            <a:r>
              <a:rPr lang="en-US" dirty="0"/>
              <a:t>MACKAY, D. J.C. Information Theory, Inference, and Learning Algorithms. Cambridge: Cambridge University Press, 2003. 640 pp. (Cuarta </a:t>
            </a:r>
            <a:r>
              <a:rPr lang="en-US" dirty="0" err="1"/>
              <a:t>impresión</a:t>
            </a:r>
            <a:r>
              <a:rPr lang="en-US" dirty="0"/>
              <a:t>, </a:t>
            </a:r>
            <a:r>
              <a:rPr lang="en-US" dirty="0" err="1"/>
              <a:t>versión</a:t>
            </a:r>
            <a:r>
              <a:rPr lang="en-US" dirty="0"/>
              <a:t> 7.2)</a:t>
            </a:r>
            <a:endParaRPr lang="es-ES"/>
          </a:p>
          <a:p>
            <a:pPr algn="just"/>
            <a:endParaRPr lang="en-US" dirty="0"/>
          </a:p>
          <a:p>
            <a:pPr algn="just">
              <a:buFont typeface="Arial"/>
              <a:buChar char="•"/>
            </a:pPr>
            <a:r>
              <a:rPr lang="en-US" dirty="0"/>
              <a:t>DEISENROTH, M. P., Aldo Faisal, and Cheng Soon Ong. Mathematics for Machine Learning. Published by Cambridge University Press. 2020. On line ISBN: 9781108679930</a:t>
            </a:r>
            <a:endParaRPr lang="en-US"/>
          </a:p>
          <a:p>
            <a:pPr algn="just"/>
            <a:endParaRPr lang="en-US" dirty="0"/>
          </a:p>
          <a:p>
            <a:pPr algn="just">
              <a:buFont typeface="Arial"/>
              <a:buChar char="•"/>
            </a:pPr>
            <a:r>
              <a:rPr lang="en-US" dirty="0"/>
              <a:t>BISHOP, C. M. Pattern Recognition and Machine Learning. Singapore: Springer, 2006. 758 pp. ISBN-10: 0-387-31073-8</a:t>
            </a:r>
            <a:endParaRPr lang="en-US"/>
          </a:p>
          <a:p>
            <a:pPr algn="just"/>
            <a:endParaRPr lang="en-US" dirty="0"/>
          </a:p>
          <a:p>
            <a:pPr algn="just">
              <a:buFont typeface="Arial"/>
              <a:buChar char="•"/>
            </a:pPr>
            <a:r>
              <a:rPr lang="en-US" dirty="0"/>
              <a:t>MOHRI, M., A. Rostamizadeh, and A. Talwalkar. Foundations of Machine Learning. Cambridge: The MIT Press, 2012. 427 pp. ISBN 978-0-262-01825-8</a:t>
            </a:r>
            <a:endParaRPr lang="en-US"/>
          </a:p>
          <a:p>
            <a:pPr algn="just"/>
            <a:endParaRPr lang="en-US" dirty="0"/>
          </a:p>
          <a:p>
            <a:pPr algn="just">
              <a:buFont typeface="Arial"/>
              <a:buChar char="•"/>
            </a:pPr>
            <a:r>
              <a:rPr lang="en-US" dirty="0"/>
              <a:t>SHALEV-SHWARTZ, S. and S. Ben-David. Understanding Machine Learning. From Theory to Algorithms. Cambridge: Cambridge University Press, 2014. 449 pp. ISBN 978-1-107-05713-5</a:t>
            </a:r>
            <a:endParaRPr lang="en-US"/>
          </a:p>
          <a:p>
            <a:pPr algn="just">
              <a:buChar char="•"/>
            </a:pPr>
            <a:endParaRPr lang="en-US" dirty="0">
              <a:solidFill>
                <a:srgbClr val="111111"/>
              </a:solidFill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233979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0A0807-A383-40DD-BD78-6FF3228F5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dirty="0">
                <a:ea typeface="+mj-lt"/>
                <a:cs typeface="+mj-lt"/>
              </a:rPr>
              <a:t>Introducción al Aprendizaje Automático</a:t>
            </a:r>
            <a:endParaRPr lang="es-ES" dirty="0"/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8AA7A911-C2D1-497E-A32A-BB84A9C98BF1}"/>
              </a:ext>
            </a:extLst>
          </p:cNvPr>
          <p:cNvSpPr txBox="1">
            <a:spLocks/>
          </p:cNvSpPr>
          <p:nvPr/>
        </p:nvSpPr>
        <p:spPr>
          <a:xfrm>
            <a:off x="4531569" y="2034020"/>
            <a:ext cx="4506113" cy="142373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000" dirty="0"/>
              <a:t>Profesor:</a:t>
            </a:r>
            <a:endParaRPr lang="es-ES" b="1" dirty="0"/>
          </a:p>
          <a:p>
            <a:pPr marL="0" indent="0">
              <a:buNone/>
            </a:pPr>
            <a:r>
              <a:rPr lang="es-ES" sz="2000" dirty="0"/>
              <a:t> </a:t>
            </a:r>
            <a:r>
              <a:rPr lang="es-ES" sz="2000" b="1" dirty="0"/>
              <a:t>Dr. </a:t>
            </a:r>
            <a:r>
              <a:rPr lang="es-ES" sz="2000" b="1" err="1"/>
              <a:t>Gaddiel</a:t>
            </a:r>
            <a:r>
              <a:rPr lang="es-ES" sz="2000" b="1" dirty="0"/>
              <a:t> </a:t>
            </a:r>
            <a:r>
              <a:rPr lang="es-ES" sz="2000" b="1" err="1"/>
              <a:t>Desirena</a:t>
            </a:r>
            <a:r>
              <a:rPr lang="es-ES" sz="2000" b="1" dirty="0"/>
              <a:t> López</a:t>
            </a:r>
            <a:endParaRPr lang="es-ES" b="1"/>
          </a:p>
          <a:p>
            <a:pPr marL="0" indent="0">
              <a:buNone/>
            </a:pPr>
            <a:r>
              <a:rPr lang="es-ES" sz="20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desirena@gmail.com</a:t>
            </a:r>
          </a:p>
          <a:p>
            <a:pPr marL="0" indent="0">
              <a:buNone/>
            </a:pPr>
            <a:r>
              <a:rPr lang="es-ES" sz="2000" b="1" dirty="0">
                <a:ea typeface="+mn-lt"/>
                <a:cs typeface="+mn-lt"/>
                <a:hlinkClick r:id="rId3"/>
              </a:rPr>
              <a:t>www.linkedin.com/in/gdesirena</a:t>
            </a:r>
            <a:endParaRPr lang="es-ES"/>
          </a:p>
        </p:txBody>
      </p:sp>
      <p:pic>
        <p:nvPicPr>
          <p:cNvPr id="6" name="Gráfico 25" descr="Sobre">
            <a:extLst>
              <a:ext uri="{FF2B5EF4-FFF2-40B4-BE49-F238E27FC236}">
                <a16:creationId xmlns:a16="http://schemas.microsoft.com/office/drawing/2014/main" id="{E329D354-12DA-4719-B693-78CDB469B7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157546" y="2799476"/>
            <a:ext cx="333375" cy="314325"/>
          </a:xfrm>
          <a:prstGeom prst="rect">
            <a:avLst/>
          </a:prstGeom>
        </p:spPr>
      </p:pic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D8EC1AF5-7BC9-4547-8E48-646A85A241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6406" y="3187441"/>
            <a:ext cx="333375" cy="314325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0DB0195D-2809-46EA-A0D3-9114D1B45A49}"/>
              </a:ext>
            </a:extLst>
          </p:cNvPr>
          <p:cNvSpPr txBox="1">
            <a:spLocks/>
          </p:cNvSpPr>
          <p:nvPr/>
        </p:nvSpPr>
        <p:spPr>
          <a:xfrm>
            <a:off x="4334444" y="2405682"/>
            <a:ext cx="4506579" cy="320413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br>
              <a:rPr lang="es-ES" sz="2400" dirty="0"/>
            </a:br>
            <a:endParaRPr lang="es-ES" sz="240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C60D8B2-8AA8-4C93-AC76-68155FC5F04A}"/>
              </a:ext>
            </a:extLst>
          </p:cNvPr>
          <p:cNvSpPr txBox="1"/>
          <p:nvPr/>
        </p:nvSpPr>
        <p:spPr>
          <a:xfrm>
            <a:off x="7008240" y="4003244"/>
            <a:ext cx="4750418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b="1" dirty="0"/>
              <a:t>Temas de Investigación:</a:t>
            </a:r>
          </a:p>
          <a:p>
            <a:endParaRPr lang="es-ES" dirty="0"/>
          </a:p>
          <a:p>
            <a:pPr marL="285750" indent="-285750">
              <a:buFont typeface="Arial"/>
              <a:buChar char="•"/>
            </a:pPr>
            <a:r>
              <a:rPr lang="es-ES" dirty="0"/>
              <a:t>Sistemas de Tiempo Real</a:t>
            </a:r>
          </a:p>
          <a:p>
            <a:pPr marL="285750" indent="-285750">
              <a:buFont typeface="Arial"/>
              <a:buChar char="•"/>
            </a:pPr>
            <a:r>
              <a:rPr lang="es-ES" dirty="0"/>
              <a:t>Ciencia de Datos, Inteligencia Artificial</a:t>
            </a:r>
          </a:p>
          <a:p>
            <a:pPr marL="285750" indent="-285750">
              <a:buFont typeface="Arial,Sans-Serif"/>
              <a:buChar char="•"/>
            </a:pPr>
            <a:r>
              <a:rPr lang="es-ES" dirty="0">
                <a:ea typeface="+mn-lt"/>
                <a:cs typeface="+mn-lt"/>
              </a:rPr>
              <a:t>Redes de Petri Continúas Temporizadas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es-ES" dirty="0">
                <a:ea typeface="+mn-lt"/>
                <a:cs typeface="+mn-lt"/>
              </a:rPr>
              <a:t>Control de sistemas Discretos</a:t>
            </a:r>
          </a:p>
          <a:p>
            <a:pPr marL="285750" indent="-285750">
              <a:buFont typeface="Arial,Sans-Serif"/>
              <a:buChar char="•"/>
            </a:pPr>
            <a:r>
              <a:rPr lang="en-US" dirty="0">
                <a:ea typeface="+mn-lt"/>
                <a:cs typeface="+mn-lt"/>
              </a:rPr>
              <a:t>Advanced Driver Assistance Systems (ADAS)</a:t>
            </a:r>
          </a:p>
          <a:p>
            <a:endParaRPr lang="es-ES" dirty="0"/>
          </a:p>
        </p:txBody>
      </p:sp>
      <p:pic>
        <p:nvPicPr>
          <p:cNvPr id="13" name="Imagen 13" descr="Interfaz de usuario gráfica, Texto, Aplicación, Correo electrónico&#10;&#10;Descripción generada automáticamente">
            <a:extLst>
              <a:ext uri="{FF2B5EF4-FFF2-40B4-BE49-F238E27FC236}">
                <a16:creationId xmlns:a16="http://schemas.microsoft.com/office/drawing/2014/main" id="{BC01FD97-3E71-40AE-9E03-FB609F8A8A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049" y="3476782"/>
            <a:ext cx="5242930" cy="3098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918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7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n 5" descr="Imagen que contiene persona, hombre, computer, computadora&#10;&#10;Descripción generada automáticamente">
            <a:extLst>
              <a:ext uri="{FF2B5EF4-FFF2-40B4-BE49-F238E27FC236}">
                <a16:creationId xmlns:a16="http://schemas.microsoft.com/office/drawing/2014/main" id="{04345C3D-D329-49EC-ACBB-4D784C6F220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881"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299C5B8-5C65-4249-9894-80D4CAB8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841190"/>
            <a:ext cx="10506456" cy="2057400"/>
          </a:xfrm>
        </p:spPr>
        <p:txBody>
          <a:bodyPr anchor="b">
            <a:normAutofit/>
          </a:bodyPr>
          <a:lstStyle/>
          <a:p>
            <a:r>
              <a:rPr lang="es-ES" sz="5000"/>
              <a:t>Presentació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AD04FE4-CFB3-434C-B3A0-F4B2A87314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248" y="3502152"/>
            <a:ext cx="10882633" cy="3123389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>
              <a:buNone/>
            </a:pPr>
            <a:r>
              <a:rPr lang="es-ES" sz="1600" dirty="0">
                <a:ea typeface="+mn-lt"/>
                <a:cs typeface="+mn-lt"/>
              </a:rPr>
              <a:t>   </a:t>
            </a:r>
            <a:r>
              <a:rPr lang="es-ES" sz="1800" dirty="0">
                <a:ea typeface="+mn-lt"/>
                <a:cs typeface="+mn-lt"/>
              </a:rPr>
              <a:t>Debido a nuevas tecnologías de cómputo, hoy día el </a:t>
            </a:r>
            <a:r>
              <a:rPr lang="es-MX" sz="1800" dirty="0">
                <a:ea typeface="+mn-lt"/>
                <a:cs typeface="+mn-lt"/>
              </a:rPr>
              <a:t>Aprendizaje automático</a:t>
            </a:r>
            <a:r>
              <a:rPr lang="es-ES" sz="1800" dirty="0">
                <a:ea typeface="+mn-lt"/>
                <a:cs typeface="+mn-lt"/>
              </a:rPr>
              <a:t> no es como el del pasado. Nació del reconocimiento de patrones y de la teoría que dice que las computadoras pueden aprender sin ser programadas para realizar tareas específicas. El aspecto iterativo del </a:t>
            </a:r>
            <a:r>
              <a:rPr lang="es-MX" sz="1800" dirty="0">
                <a:ea typeface="+mn-lt"/>
                <a:cs typeface="+mn-lt"/>
              </a:rPr>
              <a:t>Aprendizaje automático</a:t>
            </a:r>
            <a:r>
              <a:rPr lang="es-ES" sz="1800" dirty="0">
                <a:ea typeface="+mn-lt"/>
                <a:cs typeface="+mn-lt"/>
              </a:rPr>
              <a:t> es importante porque a medida que los modelos son expuestos a nuevos datos, éstos pueden adaptarse de forma independiente. </a:t>
            </a:r>
            <a:endParaRPr lang="es-ES" sz="1800">
              <a:ea typeface="+mn-lt"/>
              <a:cs typeface="+mn-lt"/>
            </a:endParaRPr>
          </a:p>
          <a:p>
            <a:pPr algn="just">
              <a:buNone/>
            </a:pPr>
            <a:r>
              <a:rPr lang="es-ES" sz="1800" dirty="0">
                <a:ea typeface="+mn-lt"/>
                <a:cs typeface="+mn-lt"/>
              </a:rPr>
              <a:t>   Aprenden de cálculos previos para producir decisiones y resultados confiables y repetibles. Es una ciencia que no es nueva – pero que ha cobrado un nuevo impulso. Esta asignatura se enfoca en conceptos introductorios </a:t>
            </a:r>
            <a:r>
              <a:rPr lang="es-MX" sz="1800" dirty="0">
                <a:ea typeface="+mn-lt"/>
                <a:cs typeface="+mn-lt"/>
              </a:rPr>
              <a:t>de Aprendizaje Automático para</a:t>
            </a:r>
            <a:r>
              <a:rPr lang="es-ES" sz="1800" dirty="0">
                <a:ea typeface="+mn-lt"/>
                <a:cs typeface="+mn-lt"/>
              </a:rPr>
              <a:t> cubrir conocimientos y habilidades sobre espacios vectoriales, regresión lineal y redes neuronales.</a:t>
            </a:r>
            <a:endParaRPr lang="es-ES" sz="1800"/>
          </a:p>
          <a:p>
            <a:pPr marL="0" indent="0" algn="just">
              <a:buNone/>
            </a:pPr>
            <a:endParaRPr lang="es-ES" sz="1600" b="1" dirty="0"/>
          </a:p>
        </p:txBody>
      </p:sp>
    </p:spTree>
    <p:extLst>
      <p:ext uri="{BB962C8B-B14F-4D97-AF65-F5344CB8AC3E}">
        <p14:creationId xmlns:p14="http://schemas.microsoft.com/office/powerpoint/2010/main" val="4203772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5" name="Rectangle 44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Imagen 21" descr="Una persona sosteniendo una laptop&#10;&#10;Descripción generada automáticamente">
            <a:extLst>
              <a:ext uri="{FF2B5EF4-FFF2-40B4-BE49-F238E27FC236}">
                <a16:creationId xmlns:a16="http://schemas.microsoft.com/office/drawing/2014/main" id="{6C799AEE-AA60-40F8-B3CA-B83E623A5A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654" r="28727" b="3909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EC13AA4-FCD7-4C3B-9CBE-5F4DC604E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124712"/>
          </a:xfrm>
        </p:spPr>
        <p:txBody>
          <a:bodyPr anchor="b">
            <a:normAutofit/>
          </a:bodyPr>
          <a:lstStyle/>
          <a:p>
            <a:r>
              <a:rPr lang="es-ES" sz="2800"/>
              <a:t>Propósitos Transversal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solidFill>
              <a:schemeClr val="tx2">
                <a:lumMod val="25000"/>
                <a:lumOff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3FDE7F0-456A-437B-9BD9-85DBE96201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65631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s-ES" sz="1800">
                <a:ea typeface="+mn-lt"/>
                <a:cs typeface="+mn-lt"/>
              </a:rPr>
              <a:t>Colaborar con los compañeros de clase.</a:t>
            </a:r>
            <a:endParaRPr lang="es-ES" sz="1800"/>
          </a:p>
          <a:p>
            <a:pPr algn="just">
              <a:lnSpc>
                <a:spcPct val="100000"/>
              </a:lnSpc>
            </a:pPr>
            <a:r>
              <a:rPr lang="es-ES" sz="1800">
                <a:ea typeface="+mn-lt"/>
                <a:cs typeface="+mn-lt"/>
              </a:rPr>
              <a:t>Generar el hábito de resolver problemas con herramientas computacionales.</a:t>
            </a:r>
            <a:endParaRPr lang="es-ES" sz="1800"/>
          </a:p>
          <a:p>
            <a:pPr algn="just">
              <a:lnSpc>
                <a:spcPct val="100000"/>
              </a:lnSpc>
            </a:pPr>
            <a:r>
              <a:rPr lang="es-ES" sz="1800">
                <a:ea typeface="+mn-lt"/>
                <a:cs typeface="+mn-lt"/>
              </a:rPr>
              <a:t>Usar de manera efectiva y eficaz las tecnologías de información para representar e interpretar los conceptos en diferentes formas: numérica, geométrica, algebraica y algorítmica.</a:t>
            </a:r>
            <a:endParaRPr lang="es-ES" sz="1800"/>
          </a:p>
          <a:p>
            <a:pPr algn="just">
              <a:lnSpc>
                <a:spcPct val="100000"/>
              </a:lnSpc>
            </a:pPr>
            <a:r>
              <a:rPr lang="es-ES" sz="1800">
                <a:ea typeface="+mn-lt"/>
                <a:cs typeface="+mn-lt"/>
              </a:rPr>
              <a:t>Implementar en Python los conocimientos adquiridos en este curso.</a:t>
            </a:r>
            <a:endParaRPr lang="es-ES" sz="1800"/>
          </a:p>
          <a:p>
            <a:pPr algn="just">
              <a:lnSpc>
                <a:spcPct val="100000"/>
              </a:lnSpc>
            </a:pPr>
            <a:endParaRPr lang="es-ES" sz="1800"/>
          </a:p>
        </p:txBody>
      </p:sp>
    </p:spTree>
    <p:extLst>
      <p:ext uri="{BB962C8B-B14F-4D97-AF65-F5344CB8AC3E}">
        <p14:creationId xmlns:p14="http://schemas.microsoft.com/office/powerpoint/2010/main" val="3554648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3EAF38DC-B069-4F74-89ED-92C7579C3D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n 4" descr="Imagen que contiene persona, hombre, parado, interior&#10;&#10;Descripción generada automáticamente">
            <a:extLst>
              <a:ext uri="{FF2B5EF4-FFF2-40B4-BE49-F238E27FC236}">
                <a16:creationId xmlns:a16="http://schemas.microsoft.com/office/drawing/2014/main" id="{E6E292A3-8920-44DF-8E4C-89C2065A99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2199" b="-1"/>
          <a:stretch/>
        </p:blipFill>
        <p:spPr>
          <a:xfrm>
            <a:off x="4883023" y="10"/>
            <a:ext cx="7308978" cy="6857990"/>
          </a:xfrm>
          <a:custGeom>
            <a:avLst/>
            <a:gdLst/>
            <a:ahLst/>
            <a:cxnLst/>
            <a:rect l="l" t="t" r="r" b="b"/>
            <a:pathLst>
              <a:path w="7308978" h="6858000">
                <a:moveTo>
                  <a:pt x="0" y="0"/>
                </a:moveTo>
                <a:lnTo>
                  <a:pt x="7308978" y="0"/>
                </a:lnTo>
                <a:lnTo>
                  <a:pt x="7308978" y="6858000"/>
                </a:lnTo>
                <a:lnTo>
                  <a:pt x="0" y="6858000"/>
                </a:lnTo>
                <a:lnTo>
                  <a:pt x="62983" y="6788730"/>
                </a:lnTo>
                <a:cubicBezTo>
                  <a:pt x="773509" y="5928900"/>
                  <a:pt x="1212978" y="4741056"/>
                  <a:pt x="1212978" y="3429000"/>
                </a:cubicBezTo>
                <a:cubicBezTo>
                  <a:pt x="1212978" y="2116944"/>
                  <a:pt x="773509" y="929100"/>
                  <a:pt x="62983" y="69271"/>
                </a:cubicBezTo>
                <a:close/>
              </a:path>
            </a:pathLst>
          </a:custGeom>
        </p:spPr>
      </p:pic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83549E37-C86B-4401-90BD-D8BF83859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0 w 6096001"/>
              <a:gd name="connsiteY0" fmla="*/ 0 h 6858000"/>
              <a:gd name="connsiteX1" fmla="*/ 4883023 w 6096001"/>
              <a:gd name="connsiteY1" fmla="*/ 0 h 6858000"/>
              <a:gd name="connsiteX2" fmla="*/ 4946006 w 6096001"/>
              <a:gd name="connsiteY2" fmla="*/ 69271 h 6858000"/>
              <a:gd name="connsiteX3" fmla="*/ 6096001 w 6096001"/>
              <a:gd name="connsiteY3" fmla="*/ 3429000 h 6858000"/>
              <a:gd name="connsiteX4" fmla="*/ 4946006 w 6096001"/>
              <a:gd name="connsiteY4" fmla="*/ 6788730 h 6858000"/>
              <a:gd name="connsiteX5" fmla="*/ 4883023 w 6096001"/>
              <a:gd name="connsiteY5" fmla="*/ 6858000 h 6858000"/>
              <a:gd name="connsiteX6" fmla="*/ 0 w 60960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1" h="6858000">
                <a:moveTo>
                  <a:pt x="0" y="0"/>
                </a:moveTo>
                <a:lnTo>
                  <a:pt x="4883023" y="0"/>
                </a:lnTo>
                <a:lnTo>
                  <a:pt x="4946006" y="69271"/>
                </a:lnTo>
                <a:cubicBezTo>
                  <a:pt x="5656532" y="929100"/>
                  <a:pt x="6096001" y="2116944"/>
                  <a:pt x="6096001" y="3429000"/>
                </a:cubicBezTo>
                <a:cubicBezTo>
                  <a:pt x="6096001" y="4741056"/>
                  <a:pt x="5656532" y="5928900"/>
                  <a:pt x="4946006" y="6788730"/>
                </a:cubicBezTo>
                <a:lnTo>
                  <a:pt x="4883023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8A17784E-76D8-4521-A77D-0D2EBB923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86857" cy="6858000"/>
          </a:xfrm>
          <a:custGeom>
            <a:avLst/>
            <a:gdLst>
              <a:gd name="connsiteX0" fmla="*/ 0 w 6086857"/>
              <a:gd name="connsiteY0" fmla="*/ 0 h 6858000"/>
              <a:gd name="connsiteX1" fmla="*/ 4873879 w 6086857"/>
              <a:gd name="connsiteY1" fmla="*/ 0 h 6858000"/>
              <a:gd name="connsiteX2" fmla="*/ 4936862 w 6086857"/>
              <a:gd name="connsiteY2" fmla="*/ 69271 h 6858000"/>
              <a:gd name="connsiteX3" fmla="*/ 6086857 w 6086857"/>
              <a:gd name="connsiteY3" fmla="*/ 3429000 h 6858000"/>
              <a:gd name="connsiteX4" fmla="*/ 4936862 w 6086857"/>
              <a:gd name="connsiteY4" fmla="*/ 6788730 h 6858000"/>
              <a:gd name="connsiteX5" fmla="*/ 4873879 w 6086857"/>
              <a:gd name="connsiteY5" fmla="*/ 6858000 h 6858000"/>
              <a:gd name="connsiteX6" fmla="*/ 0 w 608685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6857" h="6858000">
                <a:moveTo>
                  <a:pt x="0" y="0"/>
                </a:moveTo>
                <a:lnTo>
                  <a:pt x="4873879" y="0"/>
                </a:lnTo>
                <a:lnTo>
                  <a:pt x="4936862" y="69271"/>
                </a:lnTo>
                <a:cubicBezTo>
                  <a:pt x="5647388" y="929100"/>
                  <a:pt x="6086857" y="2116944"/>
                  <a:pt x="6086857" y="3429000"/>
                </a:cubicBezTo>
                <a:cubicBezTo>
                  <a:pt x="6086857" y="4741056"/>
                  <a:pt x="5647388" y="5928900"/>
                  <a:pt x="4936862" y="6788730"/>
                </a:cubicBezTo>
                <a:lnTo>
                  <a:pt x="4873879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4EE61C-B985-4C46-B2F4-59A396E21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856488"/>
            <a:ext cx="4992624" cy="1173761"/>
          </a:xfrm>
        </p:spPr>
        <p:txBody>
          <a:bodyPr anchor="b">
            <a:normAutofit/>
          </a:bodyPr>
          <a:lstStyle/>
          <a:p>
            <a:r>
              <a:rPr lang="es-ES" sz="3400"/>
              <a:t>Actitudes y Valor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0CBFF4-EA32-4FE2-BA6B-8F3A6E6ED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253806"/>
            <a:ext cx="73152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8D5885-2804-4D3C-BE31-902E4D327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7769" y="2185062"/>
            <a:ext cx="498348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6D3AC9B-4576-46EF-A28A-448190305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804" y="2294349"/>
            <a:ext cx="5427726" cy="356428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s-ES" sz="1600" dirty="0">
                <a:ea typeface="+mn-lt"/>
                <a:cs typeface="+mn-lt"/>
              </a:rPr>
              <a:t>Se espera que al cursar esta asignatura se desarrolle responsabilidad ante la actividad académica, manifiesta en al menos los siguientes aspectos:</a:t>
            </a:r>
            <a:endParaRPr lang="es-ES" sz="1600" dirty="0"/>
          </a:p>
          <a:p>
            <a:pPr>
              <a:lnSpc>
                <a:spcPct val="100000"/>
              </a:lnSpc>
            </a:pPr>
            <a:r>
              <a:rPr lang="es-ES" sz="1600" dirty="0">
                <a:ea typeface="+mn-lt"/>
                <a:cs typeface="+mn-lt"/>
              </a:rPr>
              <a:t>Participación activa, con compromiso, perseverancia y actitud positiva. </a:t>
            </a:r>
            <a:endParaRPr lang="es-ES" sz="1600" dirty="0"/>
          </a:p>
          <a:p>
            <a:pPr>
              <a:lnSpc>
                <a:spcPct val="100000"/>
              </a:lnSpc>
            </a:pPr>
            <a:r>
              <a:rPr lang="es-ES" sz="1600" dirty="0">
                <a:ea typeface="+mn-lt"/>
                <a:cs typeface="+mn-lt"/>
              </a:rPr>
              <a:t>El cumplimiento de las normas de disciplina establecidas.</a:t>
            </a:r>
            <a:endParaRPr lang="es-ES" sz="1600" dirty="0"/>
          </a:p>
          <a:p>
            <a:pPr>
              <a:lnSpc>
                <a:spcPct val="100000"/>
              </a:lnSpc>
            </a:pPr>
            <a:r>
              <a:rPr lang="es-ES" sz="1600" dirty="0">
                <a:ea typeface="+mn-lt"/>
                <a:cs typeface="+mn-lt"/>
              </a:rPr>
              <a:t>El cumplimiento en tiempo y forma de las actividades que se encomienden como trabajo independiente. </a:t>
            </a:r>
            <a:endParaRPr lang="es-ES" sz="1600" dirty="0"/>
          </a:p>
          <a:p>
            <a:pPr>
              <a:lnSpc>
                <a:spcPct val="100000"/>
              </a:lnSpc>
            </a:pPr>
            <a:r>
              <a:rPr lang="es-ES" sz="1600" dirty="0">
                <a:ea typeface="+mn-lt"/>
                <a:cs typeface="+mn-lt"/>
              </a:rPr>
              <a:t>El desarrollo de espíritu crítico y autocrítico (constructivo) en el análisis del desempeño propio y de los compañeros. </a:t>
            </a:r>
            <a:endParaRPr lang="es-ES" sz="1600" dirty="0"/>
          </a:p>
          <a:p>
            <a:pPr>
              <a:lnSpc>
                <a:spcPct val="100000"/>
              </a:lnSpc>
            </a:pPr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2506791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560AFAAC-EA6C-45A9-9E03-C9C9F0193B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n 5" descr="Imagen que contiene persona, mujer, gente, tabla&#10;&#10;Descripción generada automáticamente">
            <a:extLst>
              <a:ext uri="{FF2B5EF4-FFF2-40B4-BE49-F238E27FC236}">
                <a16:creationId xmlns:a16="http://schemas.microsoft.com/office/drawing/2014/main" id="{095259FB-1A2B-4ADB-8F6E-6C358F9560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558" r="18560" b="1"/>
          <a:stretch/>
        </p:blipFill>
        <p:spPr>
          <a:xfrm>
            <a:off x="4883022" y="10"/>
            <a:ext cx="7308978" cy="6857990"/>
          </a:xfrm>
          <a:custGeom>
            <a:avLst/>
            <a:gdLst/>
            <a:ahLst/>
            <a:cxnLst/>
            <a:rect l="l" t="t" r="r" b="b"/>
            <a:pathLst>
              <a:path w="7308978" h="6858000">
                <a:moveTo>
                  <a:pt x="0" y="0"/>
                </a:moveTo>
                <a:lnTo>
                  <a:pt x="7308978" y="0"/>
                </a:lnTo>
                <a:lnTo>
                  <a:pt x="7308978" y="6858000"/>
                </a:lnTo>
                <a:lnTo>
                  <a:pt x="0" y="6858000"/>
                </a:lnTo>
                <a:lnTo>
                  <a:pt x="62983" y="6788730"/>
                </a:lnTo>
                <a:cubicBezTo>
                  <a:pt x="773509" y="5928900"/>
                  <a:pt x="1212978" y="4741056"/>
                  <a:pt x="1212978" y="3429000"/>
                </a:cubicBezTo>
                <a:cubicBezTo>
                  <a:pt x="1212978" y="2116944"/>
                  <a:pt x="773509" y="929100"/>
                  <a:pt x="62983" y="69271"/>
                </a:cubicBezTo>
                <a:close/>
              </a:path>
            </a:pathLst>
          </a:custGeom>
        </p:spPr>
      </p:pic>
      <p:sp useBgFill="1">
        <p:nvSpPr>
          <p:cNvPr id="33" name="Freeform: Shape 32">
            <a:extLst>
              <a:ext uri="{FF2B5EF4-FFF2-40B4-BE49-F238E27FC236}">
                <a16:creationId xmlns:a16="http://schemas.microsoft.com/office/drawing/2014/main" id="{83549E37-C86B-4401-90BD-D8BF83859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0 w 6096001"/>
              <a:gd name="connsiteY0" fmla="*/ 0 h 6858000"/>
              <a:gd name="connsiteX1" fmla="*/ 4883023 w 6096001"/>
              <a:gd name="connsiteY1" fmla="*/ 0 h 6858000"/>
              <a:gd name="connsiteX2" fmla="*/ 4946006 w 6096001"/>
              <a:gd name="connsiteY2" fmla="*/ 69271 h 6858000"/>
              <a:gd name="connsiteX3" fmla="*/ 6096001 w 6096001"/>
              <a:gd name="connsiteY3" fmla="*/ 3429000 h 6858000"/>
              <a:gd name="connsiteX4" fmla="*/ 4946006 w 6096001"/>
              <a:gd name="connsiteY4" fmla="*/ 6788730 h 6858000"/>
              <a:gd name="connsiteX5" fmla="*/ 4883023 w 6096001"/>
              <a:gd name="connsiteY5" fmla="*/ 6858000 h 6858000"/>
              <a:gd name="connsiteX6" fmla="*/ 0 w 60960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1" h="6858000">
                <a:moveTo>
                  <a:pt x="0" y="0"/>
                </a:moveTo>
                <a:lnTo>
                  <a:pt x="4883023" y="0"/>
                </a:lnTo>
                <a:lnTo>
                  <a:pt x="4946006" y="69271"/>
                </a:lnTo>
                <a:cubicBezTo>
                  <a:pt x="5656532" y="929100"/>
                  <a:pt x="6096001" y="2116944"/>
                  <a:pt x="6096001" y="3429000"/>
                </a:cubicBezTo>
                <a:cubicBezTo>
                  <a:pt x="6096001" y="4741056"/>
                  <a:pt x="5656532" y="5928900"/>
                  <a:pt x="4946006" y="6788730"/>
                </a:cubicBezTo>
                <a:lnTo>
                  <a:pt x="4883023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5" name="Freeform: Shape 34">
            <a:extLst>
              <a:ext uri="{FF2B5EF4-FFF2-40B4-BE49-F238E27FC236}">
                <a16:creationId xmlns:a16="http://schemas.microsoft.com/office/drawing/2014/main" id="{8A17784E-76D8-4521-A77D-0D2EBB923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86857" cy="6858000"/>
          </a:xfrm>
          <a:custGeom>
            <a:avLst/>
            <a:gdLst>
              <a:gd name="connsiteX0" fmla="*/ 0 w 6086857"/>
              <a:gd name="connsiteY0" fmla="*/ 0 h 6858000"/>
              <a:gd name="connsiteX1" fmla="*/ 4873879 w 6086857"/>
              <a:gd name="connsiteY1" fmla="*/ 0 h 6858000"/>
              <a:gd name="connsiteX2" fmla="*/ 4936862 w 6086857"/>
              <a:gd name="connsiteY2" fmla="*/ 69271 h 6858000"/>
              <a:gd name="connsiteX3" fmla="*/ 6086857 w 6086857"/>
              <a:gd name="connsiteY3" fmla="*/ 3429000 h 6858000"/>
              <a:gd name="connsiteX4" fmla="*/ 4936862 w 6086857"/>
              <a:gd name="connsiteY4" fmla="*/ 6788730 h 6858000"/>
              <a:gd name="connsiteX5" fmla="*/ 4873879 w 6086857"/>
              <a:gd name="connsiteY5" fmla="*/ 6858000 h 6858000"/>
              <a:gd name="connsiteX6" fmla="*/ 0 w 608685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6857" h="6858000">
                <a:moveTo>
                  <a:pt x="0" y="0"/>
                </a:moveTo>
                <a:lnTo>
                  <a:pt x="4873879" y="0"/>
                </a:lnTo>
                <a:lnTo>
                  <a:pt x="4936862" y="69271"/>
                </a:lnTo>
                <a:cubicBezTo>
                  <a:pt x="5647388" y="929100"/>
                  <a:pt x="6086857" y="2116944"/>
                  <a:pt x="6086857" y="3429000"/>
                </a:cubicBezTo>
                <a:cubicBezTo>
                  <a:pt x="6086857" y="4741056"/>
                  <a:pt x="5647388" y="5928900"/>
                  <a:pt x="4936862" y="6788730"/>
                </a:cubicBezTo>
                <a:lnTo>
                  <a:pt x="4873879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4EE61C-B985-4C46-B2F4-59A396E21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856488"/>
            <a:ext cx="4992624" cy="1243584"/>
          </a:xfrm>
        </p:spPr>
        <p:txBody>
          <a:bodyPr anchor="ctr">
            <a:normAutofit/>
          </a:bodyPr>
          <a:lstStyle/>
          <a:p>
            <a:r>
              <a:rPr lang="es-ES" sz="3400"/>
              <a:t>Actitudes y Valor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0036C6B-F09C-4EAB-AE02-8D056EE748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24325"/>
            <a:ext cx="128016" cy="6539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C8D5885-2804-4D3C-BE31-902E4D327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7769" y="2195336"/>
            <a:ext cx="498348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6D3AC9B-4576-46EF-A28A-448190305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04" y="2522949"/>
            <a:ext cx="5065776" cy="340236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z="1700">
                <a:ea typeface="+mn-lt"/>
                <a:cs typeface="+mn-lt"/>
              </a:rPr>
              <a:t>El sentido de la ética, evitando, en particular, cometer actos deshonestos en la realización de las actividades evaluativas.</a:t>
            </a:r>
            <a:endParaRPr lang="es-ES" sz="1700"/>
          </a:p>
          <a:p>
            <a:r>
              <a:rPr lang="es-ES" sz="1700">
                <a:ea typeface="+mn-lt"/>
                <a:cs typeface="+mn-lt"/>
              </a:rPr>
              <a:t>El desarrollo de la capacidad para identificar características personales al afrontar procesos de aprendizaje y, como consecuencia, para aprender con mayor independencia.</a:t>
            </a:r>
            <a:endParaRPr lang="es-ES" sz="1700"/>
          </a:p>
          <a:p>
            <a:r>
              <a:rPr lang="es-ES" sz="1700">
                <a:ea typeface="+mn-lt"/>
                <a:cs typeface="+mn-lt"/>
              </a:rPr>
              <a:t>Diálogo abierto, directo y respetuoso tanto con el profesor como con los compañeros. </a:t>
            </a:r>
            <a:endParaRPr lang="es-ES" sz="1700"/>
          </a:p>
          <a:p>
            <a:r>
              <a:rPr lang="es-ES" sz="1700">
                <a:ea typeface="+mn-lt"/>
                <a:cs typeface="+mn-lt"/>
              </a:rPr>
              <a:t>Tolerancia y respeto</a:t>
            </a:r>
            <a:endParaRPr lang="es-ES" sz="1700"/>
          </a:p>
          <a:p>
            <a:endParaRPr lang="es-ES" sz="1700"/>
          </a:p>
        </p:txBody>
      </p:sp>
    </p:spTree>
    <p:extLst>
      <p:ext uri="{BB962C8B-B14F-4D97-AF65-F5344CB8AC3E}">
        <p14:creationId xmlns:p14="http://schemas.microsoft.com/office/powerpoint/2010/main" val="793095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AA72BD9-2C5A-4EDC-931F-5AA08EACA0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n 4" descr="Imagen que contiene interior, monitor, remoto, computadora&#10;&#10;Descripción generada automáticamente">
            <a:extLst>
              <a:ext uri="{FF2B5EF4-FFF2-40B4-BE49-F238E27FC236}">
                <a16:creationId xmlns:a16="http://schemas.microsoft.com/office/drawing/2014/main" id="{D7D718A0-3F19-4DBA-AFE9-A4E0662A3C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843" t="9091" r="14513"/>
          <a:stretch/>
        </p:blipFill>
        <p:spPr>
          <a:xfrm>
            <a:off x="3522468" y="10"/>
            <a:ext cx="866953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A6DB0E6-E65F-4229-A5A0-2500203B6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363206F-0AEB-49BA-9E78-E0FC8D7D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124712"/>
          </a:xfrm>
        </p:spPr>
        <p:txBody>
          <a:bodyPr anchor="b">
            <a:normAutofit/>
          </a:bodyPr>
          <a:lstStyle/>
          <a:p>
            <a:r>
              <a:rPr lang="es-ES" sz="2800"/>
              <a:t>Recurso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945887B-F90D-455F-99D4-3FDE5CEC87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5029581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/>
            <a:r>
              <a:rPr lang="es-ES" sz="1700" dirty="0">
                <a:ea typeface="+mn-lt"/>
                <a:cs typeface="+mn-lt"/>
              </a:rPr>
              <a:t>Para tener un desempeño satisfactorio de esta asignatura es indispensable contar con conocimientos de </a:t>
            </a:r>
            <a:r>
              <a:rPr lang="es-ES" sz="1700" b="1" dirty="0">
                <a:ea typeface="+mn-lt"/>
                <a:cs typeface="+mn-lt"/>
              </a:rPr>
              <a:t>programación, cálculo diferencial y modelado matemático.</a:t>
            </a:r>
            <a:r>
              <a:rPr lang="es-ES" sz="1700" dirty="0">
                <a:ea typeface="+mn-lt"/>
                <a:cs typeface="+mn-lt"/>
              </a:rPr>
              <a:t> Es deseable manejar algún lenguaje científico de programación, por ejemplo, </a:t>
            </a:r>
            <a:r>
              <a:rPr lang="es-ES" sz="1700" b="1" dirty="0">
                <a:ea typeface="+mn-lt"/>
                <a:cs typeface="+mn-lt"/>
              </a:rPr>
              <a:t> Python.</a:t>
            </a:r>
            <a:endParaRPr lang="es-ES" sz="1700" dirty="0"/>
          </a:p>
          <a:p>
            <a:pPr algn="just"/>
            <a:endParaRPr lang="es-ES" sz="1700"/>
          </a:p>
        </p:txBody>
      </p:sp>
    </p:spTree>
    <p:extLst>
      <p:ext uri="{BB962C8B-B14F-4D97-AF65-F5344CB8AC3E}">
        <p14:creationId xmlns:p14="http://schemas.microsoft.com/office/powerpoint/2010/main" val="1918384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n 4" descr="Imagen que contiene interior, monitor, remoto, computadora&#10;&#10;Descripción generada automáticamente">
            <a:extLst>
              <a:ext uri="{FF2B5EF4-FFF2-40B4-BE49-F238E27FC236}">
                <a16:creationId xmlns:a16="http://schemas.microsoft.com/office/drawing/2014/main" id="{69CFD69C-C15E-4187-ACEC-9D905578FF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822" t="9091" r="14542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363206F-0AEB-49BA-9E78-E0FC8D7D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4924044" cy="1124712"/>
          </a:xfrm>
        </p:spPr>
        <p:txBody>
          <a:bodyPr anchor="b">
            <a:normAutofit/>
          </a:bodyPr>
          <a:lstStyle/>
          <a:p>
            <a:r>
              <a:rPr lang="es-ES" sz="2800" dirty="0"/>
              <a:t>Recurso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solidFill>
              <a:schemeClr val="tx2">
                <a:lumMod val="25000"/>
                <a:lumOff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F4C52CB0-AB9F-48E4-AC1B-374638B775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solidFill>
              <a:schemeClr val="tx2">
                <a:lumMod val="25000"/>
                <a:lumOff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7C02189C-8C4E-49EA-9667-150C3575D9E4}"/>
              </a:ext>
            </a:extLst>
          </p:cNvPr>
          <p:cNvSpPr>
            <a:spLocks noGrp="1"/>
          </p:cNvSpPr>
          <p:nvPr/>
        </p:nvSpPr>
        <p:spPr>
          <a:xfrm>
            <a:off x="371094" y="2718054"/>
            <a:ext cx="4924806" cy="32072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sz="1700" b="1" dirty="0"/>
              <a:t>Tener instalado Suite de </a:t>
            </a:r>
            <a:r>
              <a:rPr lang="es-ES" sz="1700" b="1" dirty="0">
                <a:solidFill>
                  <a:schemeClr val="accent3"/>
                </a:solidFill>
              </a:rPr>
              <a:t>Anaconda </a:t>
            </a:r>
            <a:r>
              <a:rPr lang="es-ES" sz="1700" b="1" dirty="0"/>
              <a:t>(</a:t>
            </a:r>
            <a:r>
              <a:rPr lang="es-ES" sz="1700" dirty="0">
                <a:ea typeface="+mn-lt"/>
                <a:cs typeface="+mn-lt"/>
                <a:hlinkClick r:id="rId3"/>
              </a:rPr>
              <a:t>https://www.anaconda.com/</a:t>
            </a:r>
            <a:r>
              <a:rPr lang="es-ES" sz="1700" b="1" dirty="0"/>
              <a:t>)</a:t>
            </a:r>
          </a:p>
          <a:p>
            <a:pPr algn="just"/>
            <a:r>
              <a:rPr lang="es-ES" sz="1700" dirty="0">
                <a:ea typeface="+mn-lt"/>
                <a:cs typeface="+mn-lt"/>
              </a:rPr>
              <a:t>Anaconda viene con una suite de herramientas gráficas llamada “Anaconda </a:t>
            </a:r>
            <a:r>
              <a:rPr lang="es-ES" sz="1700" dirty="0" err="1">
                <a:ea typeface="+mn-lt"/>
                <a:cs typeface="+mn-lt"/>
              </a:rPr>
              <a:t>Navigator</a:t>
            </a:r>
            <a:r>
              <a:rPr lang="es-ES" sz="1700" dirty="0">
                <a:ea typeface="+mn-lt"/>
                <a:cs typeface="+mn-lt"/>
              </a:rPr>
              <a:t>”. Trabajaremos con Spyder y </a:t>
            </a:r>
            <a:r>
              <a:rPr lang="es-ES" sz="1700" dirty="0" err="1">
                <a:ea typeface="+mn-lt"/>
                <a:cs typeface="+mn-lt"/>
              </a:rPr>
              <a:t>Jupyter</a:t>
            </a:r>
            <a:r>
              <a:rPr lang="es-ES" sz="1700" dirty="0">
                <a:ea typeface="+mn-lt"/>
                <a:cs typeface="+mn-lt"/>
              </a:rPr>
              <a:t> Notebook.</a:t>
            </a:r>
            <a:endParaRPr lang="es-ES" sz="1700" b="1" dirty="0">
              <a:ea typeface="+mn-lt"/>
              <a:cs typeface="+mn-lt"/>
            </a:endParaRPr>
          </a:p>
          <a:p>
            <a:pPr algn="just"/>
            <a:endParaRPr lang="es-ES" sz="1700"/>
          </a:p>
        </p:txBody>
      </p:sp>
      <p:pic>
        <p:nvPicPr>
          <p:cNvPr id="16" name="Imagen 15" descr="Imagen que contiene dibujo, ventana, señal, firmar&#10;&#10;Descripción generada automáticamente">
            <a:extLst>
              <a:ext uri="{FF2B5EF4-FFF2-40B4-BE49-F238E27FC236}">
                <a16:creationId xmlns:a16="http://schemas.microsoft.com/office/drawing/2014/main" id="{58C98E2A-9177-47DB-B5F8-46F08F3002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6875" y="5021209"/>
            <a:ext cx="2390775" cy="120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119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n 4" descr="Imagen que contiene pequeño, tabla, remoto, puesto&#10;&#10;Descripción generada automáticamente">
            <a:extLst>
              <a:ext uri="{FF2B5EF4-FFF2-40B4-BE49-F238E27FC236}">
                <a16:creationId xmlns:a16="http://schemas.microsoft.com/office/drawing/2014/main" id="{3229EE14-C155-4BB8-BDA0-F769E12E50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b="4255"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50219F9-2A93-42AA-9D01-2715EF7CD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099" y="456057"/>
            <a:ext cx="10944606" cy="2038350"/>
          </a:xfrm>
        </p:spPr>
        <p:txBody>
          <a:bodyPr anchor="b">
            <a:normAutofit/>
          </a:bodyPr>
          <a:lstStyle/>
          <a:p>
            <a:r>
              <a:rPr lang="es-ES" sz="5000" dirty="0"/>
              <a:t>¿Qué se espera al terminar el curso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D84B62F-097C-48D0-85DD-B8677DBF38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248" y="3502152"/>
            <a:ext cx="10506456" cy="2670048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algn="just"/>
            <a:r>
              <a:rPr lang="es-ES" sz="2400" dirty="0">
                <a:ea typeface="+mn-lt"/>
                <a:cs typeface="+mn-lt"/>
              </a:rPr>
              <a:t>Al finalizar con éxito la asignatura se tendrán los conceptos básicos de Aprendizaje Automático. Se tendrán los conocimientos y habilidades sobre espacios vectoriales, regresión lineal y redes neuronales.</a:t>
            </a:r>
            <a:endParaRPr lang="en-US" sz="2400" dirty="0">
              <a:ea typeface="+mn-lt"/>
              <a:cs typeface="+mn-lt"/>
            </a:endParaRPr>
          </a:p>
          <a:p>
            <a:pPr algn="just"/>
            <a:br>
              <a:rPr lang="en-US" sz="2400" dirty="0">
                <a:ea typeface="+mn-lt"/>
                <a:cs typeface="+mn-lt"/>
              </a:rPr>
            </a:br>
            <a:endParaRPr lang="en-US" sz="2400">
              <a:ea typeface="+mn-lt"/>
              <a:cs typeface="+mn-lt"/>
            </a:endParaRPr>
          </a:p>
          <a:p>
            <a:pPr marL="0" indent="0" algn="just">
              <a:buNone/>
            </a:pPr>
            <a:br>
              <a:rPr lang="en-US" sz="2400" dirty="0"/>
            </a:br>
            <a:endParaRPr lang="en-US" sz="2400"/>
          </a:p>
          <a:p>
            <a:pPr algn="just"/>
            <a:endParaRPr lang="es-ES" sz="2400"/>
          </a:p>
        </p:txBody>
      </p:sp>
    </p:spTree>
    <p:extLst>
      <p:ext uri="{BB962C8B-B14F-4D97-AF65-F5344CB8AC3E}">
        <p14:creationId xmlns:p14="http://schemas.microsoft.com/office/powerpoint/2010/main" val="1372652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h2p6/nKDBLti/DTjejdsEFAAAAAAADAAAAAwADAAAAAQADAAAAAAD///////8DAAEA////////BAAAAAMAEAALh+TFJogp8k265KsoKN3jJ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Dh2p6/nKDBLti/DTjejdsEDRGF0YQAbAAAABExpbmtlZFNoYXBlRGF0YQAFAAAAAAACTmFtZQAZAAAATGlua2VkU2hhcGVzRGF0YVByb3BlcnR5ABBWZXJzaW9uAAAAAAAJTGFzdFdyaXRlAK3Dl0+HAQAAAAEA/////50AnQAAAAVfaWQAEAAAAASH5MUmiCnyTbrkqygo3eMlA0RhdGEAKgAAAAhQcmVzZW50YXRpb25TY2FubmVkRm9yTGlua2VkU2hhcGVzAAEAAk5hbWUAJAAAAExpbmtlZFNoYXBlUHJlc2VudGF0aW9uU2V0dGluZ3NEYXRhABBWZXJzaW9uAAAAAAAJTGFzdFdyaXRlAPDDl0+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AccentBoxVTI">
  <a:themeElements>
    <a:clrScheme name="AccentBoxVTI">
      <a:dk1>
        <a:srgbClr val="000000"/>
      </a:dk1>
      <a:lt1>
        <a:sysClr val="window" lastClr="FFFFFF"/>
      </a:lt1>
      <a:dk2>
        <a:srgbClr val="262626"/>
      </a:dk2>
      <a:lt2>
        <a:srgbClr val="FFFFFF"/>
      </a:lt2>
      <a:accent1>
        <a:srgbClr val="F5A700"/>
      </a:accent1>
      <a:accent2>
        <a:srgbClr val="00A5AB"/>
      </a:accent2>
      <a:accent3>
        <a:srgbClr val="09963B"/>
      </a:accent3>
      <a:accent4>
        <a:srgbClr val="E64823"/>
      </a:accent4>
      <a:accent5>
        <a:srgbClr val="9C6A6A"/>
      </a:accent5>
      <a:accent6>
        <a:srgbClr val="824F8C"/>
      </a:accent6>
      <a:hlink>
        <a:srgbClr val="2998E3"/>
      </a:hlink>
      <a:folHlink>
        <a:srgbClr val="7F723D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centBoxVTI" id="{9F778A78-DC9A-453A-A82D-A75CAD503E15}" vid="{EA961113-7CC4-4569-8A6A-7BC2C1E2F401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2</Words>
  <Application>Microsoft Office PowerPoint</Application>
  <PresentationFormat>Widescreen</PresentationFormat>
  <Paragraphs>89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Arial,Sans-Serif</vt:lpstr>
      <vt:lpstr>Avenir Next LT Pro</vt:lpstr>
      <vt:lpstr>Calibri</vt:lpstr>
      <vt:lpstr>Times New Roman</vt:lpstr>
      <vt:lpstr>AccentBoxVTI</vt:lpstr>
      <vt:lpstr>Introducción al Aprendizaje Automático IAA </vt:lpstr>
      <vt:lpstr>Introducción al Aprendizaje Automático</vt:lpstr>
      <vt:lpstr>Presentación</vt:lpstr>
      <vt:lpstr>Propósitos Transversales</vt:lpstr>
      <vt:lpstr>Actitudes y Valores</vt:lpstr>
      <vt:lpstr>Actitudes y Valores</vt:lpstr>
      <vt:lpstr>Recursos</vt:lpstr>
      <vt:lpstr>Recursos</vt:lpstr>
      <vt:lpstr>¿Qué se espera al terminar el curso?</vt:lpstr>
      <vt:lpstr>Programa del Curso</vt:lpstr>
      <vt:lpstr>Evaluación del Aprendizaje</vt:lpstr>
      <vt:lpstr>Políticas y Lineamientos del curso</vt:lpstr>
      <vt:lpstr>Políticas y Lineamientos del curso</vt:lpstr>
      <vt:lpstr>Referencias Bibliográfica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/>
  <cp:lastModifiedBy>Desirena Lopez, Gaddiel</cp:lastModifiedBy>
  <cp:revision>879</cp:revision>
  <dcterms:created xsi:type="dcterms:W3CDTF">2020-08-14T18:32:06Z</dcterms:created>
  <dcterms:modified xsi:type="dcterms:W3CDTF">2025-08-22T17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AccentBoxVTI:8</vt:lpwstr>
  </property>
  <property fmtid="{D5CDD505-2E9C-101B-9397-08002B2CF9AE}" pid="3" name="ClassificationContentMarkingFooterText">
    <vt:lpwstr>Internal</vt:lpwstr>
  </property>
</Properties>
</file>